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7" r:id="rId1"/>
    <p:sldMasterId id="2147483736" r:id="rId2"/>
  </p:sldMasterIdLst>
  <p:notesMasterIdLst>
    <p:notesMasterId r:id="rId25"/>
  </p:notesMasterIdLst>
  <p:handoutMasterIdLst>
    <p:handoutMasterId r:id="rId26"/>
  </p:handoutMasterIdLst>
  <p:sldIdLst>
    <p:sldId id="261" r:id="rId3"/>
    <p:sldId id="366" r:id="rId4"/>
    <p:sldId id="367" r:id="rId5"/>
    <p:sldId id="368" r:id="rId6"/>
    <p:sldId id="365" r:id="rId7"/>
    <p:sldId id="369" r:id="rId8"/>
    <p:sldId id="381" r:id="rId9"/>
    <p:sldId id="382" r:id="rId10"/>
    <p:sldId id="390" r:id="rId11"/>
    <p:sldId id="375" r:id="rId12"/>
    <p:sldId id="371" r:id="rId13"/>
    <p:sldId id="396" r:id="rId14"/>
    <p:sldId id="385" r:id="rId15"/>
    <p:sldId id="387" r:id="rId16"/>
    <p:sldId id="386" r:id="rId17"/>
    <p:sldId id="393" r:id="rId18"/>
    <p:sldId id="395" r:id="rId19"/>
    <p:sldId id="398" r:id="rId20"/>
    <p:sldId id="399" r:id="rId21"/>
    <p:sldId id="400" r:id="rId22"/>
    <p:sldId id="401" r:id="rId23"/>
    <p:sldId id="397" r:id="rId24"/>
  </p:sldIdLst>
  <p:sldSz cx="9144000" cy="6858000" type="screen4x3"/>
  <p:notesSz cx="6858000" cy="9236075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99FF"/>
    <a:srgbClr val="FFCC66"/>
    <a:srgbClr val="66FFFF"/>
    <a:srgbClr val="85CEFF"/>
    <a:srgbClr val="F3833D"/>
    <a:srgbClr val="3C3C3C"/>
    <a:srgbClr val="5D9674"/>
    <a:srgbClr val="815E90"/>
    <a:srgbClr val="BA9D80"/>
    <a:srgbClr val="D3D0A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21E4AEA4-8DFA-4A89-87EB-49C32662AFE0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5DA37D80-6434-44D0-A028-1B22A696006F}" styleName="Light Style 3 - Accent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8A107856-5554-42FB-B03E-39F5DBC370BA}" styleName="Medium Style 4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SorterView">
  <p:normalViewPr vertBarState="minimized">
    <p:restoredLeft sz="34615" autoAdjust="0"/>
    <p:restoredTop sz="97853" autoAdjust="0"/>
  </p:normalViewPr>
  <p:slideViewPr>
    <p:cSldViewPr snapToGrid="0">
      <p:cViewPr>
        <p:scale>
          <a:sx n="110" d="100"/>
          <a:sy n="110" d="100"/>
        </p:scale>
        <p:origin x="-1554" y="360"/>
      </p:cViewPr>
      <p:guideLst>
        <p:guide orient="horz" pos="286"/>
        <p:guide orient="horz" pos="4030"/>
        <p:guide pos="288"/>
        <p:guide pos="1536"/>
        <p:guide pos="1608"/>
        <p:guide pos="2844"/>
        <p:guide pos="2916"/>
        <p:guide pos="4170"/>
        <p:guide pos="4236"/>
        <p:guide pos="5478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>
        <p:scale>
          <a:sx n="150" d="100"/>
          <a:sy n="150" d="100"/>
        </p:scale>
        <p:origin x="-1512" y="-72"/>
      </p:cViewPr>
      <p:guideLst>
        <p:guide orient="horz" pos="2909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handoutMaster" Target="handoutMasters/handoutMaster1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viewProps" Target="viewProp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56036"/>
            <a:ext cx="4648200" cy="349736"/>
          </a:xfrm>
          <a:prstGeom prst="rect">
            <a:avLst/>
          </a:prstGeom>
        </p:spPr>
        <p:txBody>
          <a:bodyPr vert="horz" wrap="square" lIns="182813" tIns="91407" rIns="182813" bIns="91407" rtlCol="0" anchor="ctr" anchorCtr="0">
            <a:spAutoFit/>
          </a:bodyPr>
          <a:lstStyle>
            <a:lvl1pPr algn="l">
              <a:defRPr sz="1200"/>
            </a:lvl1pPr>
          </a:lstStyle>
          <a:p>
            <a:endParaRPr lang="en-US" sz="1000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5105402" y="56036"/>
            <a:ext cx="1751013" cy="349736"/>
          </a:xfrm>
          <a:prstGeom prst="rect">
            <a:avLst/>
          </a:prstGeom>
        </p:spPr>
        <p:txBody>
          <a:bodyPr vert="horz" wrap="square" lIns="182813" tIns="91407" rIns="182813" bIns="91407" rtlCol="0" anchor="ctr" anchorCtr="0">
            <a:spAutoFit/>
          </a:bodyPr>
          <a:lstStyle>
            <a:lvl1pPr algn="r">
              <a:defRPr sz="1200"/>
            </a:lvl1pPr>
          </a:lstStyle>
          <a:p>
            <a:fld id="{84A9A2C0-201B-4B9E-89C5-E97B5622C993}" type="datetimeFigureOut">
              <a:rPr lang="en-US" sz="1000"/>
              <a:pPr/>
              <a:t>5/22/2015</a:t>
            </a:fld>
            <a:endParaRPr lang="en-US" sz="100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6126480" y="8828703"/>
            <a:ext cx="731520" cy="349736"/>
          </a:xfrm>
          <a:prstGeom prst="rect">
            <a:avLst/>
          </a:prstGeom>
        </p:spPr>
        <p:txBody>
          <a:bodyPr vert="horz" wrap="square" lIns="182813" tIns="91407" rIns="182813" bIns="91407" rtlCol="0" anchor="ctr" anchorCtr="0">
            <a:spAutoFit/>
          </a:bodyPr>
          <a:lstStyle>
            <a:lvl1pPr algn="r">
              <a:defRPr sz="1200"/>
            </a:lvl1pPr>
          </a:lstStyle>
          <a:p>
            <a:fld id="{FC356F8F-79E3-4D6C-ABD0-947A52C601F6}" type="slidenum">
              <a:rPr lang="en-US" sz="1000"/>
              <a:pPr/>
              <a:t>‹#›</a:t>
            </a:fld>
            <a:endParaRPr lang="en-US" sz="1000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27561" y="484984"/>
            <a:ext cx="1002882" cy="2757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8481315"/>
      </p:ext>
    </p:extLst>
  </p:cSld>
  <p:clrMap bg1="lt1" tx1="dk1" bg2="lt2" tx2="dk2" accent1="accent1" accent2="accent2" accent3="accent3" accent4="accent4" accent5="accent5" accent6="accent6" hlink="hlink" folHlink="folHlink"/>
  <p:hf hdr="0"/>
</p:handoutMaster>
</file>

<file path=ppt/notesMasters/_rels/notes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" y="8857522"/>
            <a:ext cx="1149141" cy="349736"/>
          </a:xfrm>
          <a:prstGeom prst="rect">
            <a:avLst/>
          </a:prstGeom>
        </p:spPr>
        <p:txBody>
          <a:bodyPr vert="horz" wrap="square" lIns="182813" tIns="91407" rIns="182813" bIns="91407" rtlCol="0" anchor="ctr" anchorCtr="0">
            <a:spAutoFit/>
          </a:bodyPr>
          <a:lstStyle>
            <a:lvl1pPr algn="r">
              <a:defRPr sz="1000"/>
            </a:lvl1pPr>
          </a:lstStyle>
          <a:p>
            <a:fld id="{D9F54F27-1581-40D0-938A-3C1E85348357}" type="datetimeFigureOut">
              <a:rPr lang="en-US" smtClean="0"/>
              <a:pPr/>
              <a:t>5/22/201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09563" y="269875"/>
            <a:ext cx="2314575" cy="17367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07" tIns="45703" rIns="91407" bIns="45703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320040" y="2135845"/>
            <a:ext cx="6217920" cy="6511433"/>
          </a:xfrm>
          <a:prstGeom prst="rect">
            <a:avLst/>
          </a:prstGeom>
        </p:spPr>
        <p:txBody>
          <a:bodyPr vert="horz" lIns="91407" tIns="45703" rIns="91407" bIns="45703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6126480" y="8857522"/>
            <a:ext cx="731520" cy="349736"/>
          </a:xfrm>
          <a:prstGeom prst="rect">
            <a:avLst/>
          </a:prstGeom>
        </p:spPr>
        <p:txBody>
          <a:bodyPr vert="horz" lIns="182813" tIns="91407" rIns="182813" bIns="91407" rtlCol="0" anchor="ctr" anchorCtr="0">
            <a:spAutoFit/>
          </a:bodyPr>
          <a:lstStyle>
            <a:lvl1pPr algn="r">
              <a:defRPr sz="1000"/>
            </a:lvl1pPr>
          </a:lstStyle>
          <a:p>
            <a:fld id="{DDEAD121-A289-4444-9389-D3675A8CD485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61211" y="269068"/>
            <a:ext cx="1002882" cy="2757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2159851"/>
      </p:ext>
    </p:extLst>
  </p:cSld>
  <p:clrMap bg1="lt1" tx1="dk1" bg2="lt2" tx2="dk2" accent1="accent1" accent2="accent2" accent3="accent3" accent4="accent4" accent5="accent5" accent6="accent6" hlink="hlink" folHlink="folHlink"/>
  <p:hf hdr="0"/>
  <p:notesStyle>
    <a:lvl1pPr marL="169863" indent="-169863" algn="l" defTabSz="914400" rtl="0" eaLnBrk="1" latinLnBrk="0" hangingPunct="1">
      <a:spcBef>
        <a:spcPts val="1000"/>
      </a:spcBef>
      <a:buFont typeface="Arial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indent="-174625" algn="l" defTabSz="914400" rtl="0" eaLnBrk="1" latinLnBrk="0" hangingPunct="1">
      <a:spcBef>
        <a:spcPts val="600"/>
      </a:spcBef>
      <a:buFont typeface="Arial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744538" indent="-168275" algn="l" defTabSz="914400" rtl="0" eaLnBrk="1" latinLnBrk="0" hangingPunct="1">
      <a:spcBef>
        <a:spcPts val="600"/>
      </a:spcBef>
      <a:buFont typeface="Arial" pitchFamily="34" charset="0"/>
      <a:buChar char="•"/>
      <a:defRPr sz="1100" kern="1200">
        <a:solidFill>
          <a:schemeClr val="tx1"/>
        </a:solidFill>
        <a:latin typeface="+mn-lt"/>
        <a:ea typeface="+mn-ea"/>
        <a:cs typeface="+mn-cs"/>
      </a:defRPr>
    </a:lvl3pPr>
    <a:lvl4pPr marL="1027113" indent="-169863" algn="l" defTabSz="914400" rtl="0" eaLnBrk="1" latinLnBrk="0" hangingPunct="1">
      <a:spcBef>
        <a:spcPts val="600"/>
      </a:spcBef>
      <a:buFont typeface="Arial" pitchFamily="34" charset="0"/>
      <a:buChar char="•"/>
      <a:defRPr sz="11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spcBef>
        <a:spcPts val="600"/>
      </a:spcBef>
      <a:buFont typeface="Arial" pitchFamily="34" charset="0"/>
      <a:buChar char="•"/>
      <a:defRPr sz="11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fld id="{3305E684-7151-44B3-A754-2DB0FC95B003}" type="datetime1">
              <a:rPr lang="en-US" smtClean="0"/>
              <a:t>5/22/2015</a:t>
            </a:fld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EAD121-A289-4444-9389-D3675A8CD485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8133360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fld id="{661A59E7-4DC2-4B6D-A74C-2D3B4A628543}" type="datetime1">
              <a:rPr lang="en-US" smtClean="0"/>
              <a:t>5/22/2015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EAD121-A289-4444-9389-D3675A8CD485}" type="slidenum">
              <a:rPr lang="en-US" smtClean="0"/>
              <a:pPr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7903462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fld id="{F0FB68AB-AF25-4A47-9097-DA21730906DF}" type="datetime1">
              <a:rPr lang="en-US" smtClean="0"/>
              <a:t>5/22/2015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EAD121-A289-4444-9389-D3675A8CD485}" type="slidenum">
              <a:rPr lang="en-US" smtClean="0"/>
              <a:pPr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529204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fld id="{A1F0790A-FF29-4107-81AA-2A33A789387B}" type="datetime1">
              <a:rPr lang="en-US" smtClean="0"/>
              <a:t>5/22/2015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EAD121-A289-4444-9389-D3675A8CD485}" type="slidenum">
              <a:rPr lang="en-US" smtClean="0"/>
              <a:pPr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8294083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fld id="{465F08C0-8079-4B42-92FA-93CF2967495A}" type="datetime1">
              <a:rPr lang="en-US" smtClean="0"/>
              <a:t>5/22/2015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EAD121-A289-4444-9389-D3675A8CD485}" type="slidenum">
              <a:rPr lang="en-US" smtClean="0"/>
              <a:pPr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1501847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fld id="{455E2789-8917-4CA0-84ED-AC1ED2CEC57E}" type="datetime1">
              <a:rPr lang="en-US" smtClean="0"/>
              <a:t>5/22/2015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EAD121-A289-4444-9389-D3675A8CD485}" type="slidenum">
              <a:rPr lang="en-US" smtClean="0"/>
              <a:pPr/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23328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fld id="{EA7210C0-B5FF-4ACB-A730-E354F5C72EE0}" type="datetime1">
              <a:rPr lang="en-US" smtClean="0"/>
              <a:t>5/22/2015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EAD121-A289-4444-9389-D3675A8CD485}" type="slidenum">
              <a:rPr lang="en-US" smtClean="0"/>
              <a:pPr/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6426314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fld id="{96C271D7-03FD-46C3-A623-19C3C502938C}" type="datetime1">
              <a:rPr lang="en-US" smtClean="0"/>
              <a:t>5/22/2015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EAD121-A289-4444-9389-D3675A8CD485}" type="slidenum">
              <a:rPr lang="en-US" smtClean="0"/>
              <a:pPr/>
              <a:t>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1177800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endParaRPr lang="en-US" baseline="0" dirty="0" smtClean="0"/>
          </a:p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fld id="{5828BB26-82BC-425B-89BB-03D09A7B0CB2}" type="datetime1">
              <a:rPr lang="en-US" smtClean="0"/>
              <a:t>5/22/2015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EAD121-A289-4444-9389-D3675A8CD485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520212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fld id="{52FC2BD6-E82E-4F28-9810-56A490DF445E}" type="datetime1">
              <a:rPr lang="en-US" smtClean="0"/>
              <a:t>5/22/2015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EAD121-A289-4444-9389-D3675A8CD485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9100560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fld id="{455E2789-8917-4CA0-84ED-AC1ED2CEC57E}" type="datetime1">
              <a:rPr lang="en-US" smtClean="0"/>
              <a:t>5/22/2015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EAD121-A289-4444-9389-D3675A8CD485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23328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fld id="{C0D68DE4-8788-4C2B-B16C-2E8FC99C005B}" type="datetime1">
              <a:rPr lang="en-US" smtClean="0"/>
              <a:t>5/22/2015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EAD121-A289-4444-9389-D3675A8CD485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4889888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fld id="{EA7210C0-B5FF-4ACB-A730-E354F5C72EE0}" type="datetime1">
              <a:rPr lang="en-US" smtClean="0"/>
              <a:t>5/22/2015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EAD121-A289-4444-9389-D3675A8CD485}" type="slidenum">
              <a:rPr lang="en-US" smtClean="0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6426314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fld id="{AF5AB08E-7D1B-4E84-847A-3BEE8EC55A8F}" type="datetime1">
              <a:rPr lang="en-US" smtClean="0"/>
              <a:t>5/22/2015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EAD121-A289-4444-9389-D3675A8CD485}" type="slidenum">
              <a:rPr lang="en-US" smtClean="0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7213507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fld id="{B854A46D-A61E-4374-BC53-194FB93B34D5}" type="datetime1">
              <a:rPr lang="en-US" smtClean="0"/>
              <a:t>5/22/2015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EAD121-A289-4444-9389-D3675A8CD485}" type="slidenum">
              <a:rPr lang="en-US" smtClean="0"/>
              <a:pPr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47412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fld id="{48F9D715-7EFF-4EF5-B4B1-AEF8B69A054E}" type="datetime1">
              <a:rPr lang="en-US" smtClean="0"/>
              <a:t>5/22/2015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EAD121-A289-4444-9389-D3675A8CD485}" type="slidenum">
              <a:rPr lang="en-US" smtClean="0"/>
              <a:pPr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2813217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3200400"/>
            <a:ext cx="9144000" cy="3657600"/>
          </a:xfrm>
        </p:spPr>
        <p:txBody>
          <a:bodyPr>
            <a:normAutofit/>
          </a:bodyPr>
          <a:lstStyle>
            <a:lvl1pPr>
              <a:defRPr sz="1800">
                <a:solidFill>
                  <a:schemeClr val="accent6"/>
                </a:solidFill>
              </a:defRPr>
            </a:lvl1pPr>
          </a:lstStyle>
          <a:p>
            <a:r>
              <a:rPr lang="en-US" dirty="0" smtClean="0"/>
              <a:t>Click icon to add picture from fil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1095375"/>
            <a:ext cx="6217920" cy="1234440"/>
          </a:xfrm>
        </p:spPr>
        <p:txBody>
          <a:bodyPr vert="horz" lIns="0" tIns="45720" rIns="91440" bIns="45720" rtlCol="0" anchor="ctr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lang="en-US" sz="3600" b="0" i="0" kern="1200" dirty="0" smtClean="0">
                <a:solidFill>
                  <a:schemeClr val="accent1"/>
                </a:solidFill>
                <a:latin typeface="Georgia"/>
                <a:ea typeface="+mj-ea"/>
                <a:cs typeface="Georgia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57200" y="2604135"/>
            <a:ext cx="6126480" cy="457200"/>
          </a:xfrm>
        </p:spPr>
        <p:txBody>
          <a:bodyPr lIns="0">
            <a:noAutofit/>
          </a:bodyPr>
          <a:lstStyle>
            <a:lvl1pPr marL="0" indent="0" algn="l">
              <a:spcBef>
                <a:spcPts val="600"/>
              </a:spcBef>
              <a:buNone/>
              <a:defRPr sz="1800">
                <a:solidFill>
                  <a:schemeClr val="tx2">
                    <a:lumMod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>
          <a:xfrm>
            <a:off x="3581400" y="6567101"/>
            <a:ext cx="5105400" cy="138499"/>
          </a:xfrm>
        </p:spPr>
        <p:txBody>
          <a:bodyPr/>
          <a:lstStyle/>
          <a:p>
            <a:r>
              <a:rPr lang="en-US" smtClean="0"/>
              <a:t>COMPANY CONFIDENTIAL  |  FOR INTERNAL USE ONLY  |  DO NOT COPY</a:t>
            </a:r>
            <a:endParaRPr lang="en-US" dirty="0"/>
          </a:p>
        </p:txBody>
      </p:sp>
      <p:sp>
        <p:nvSpPr>
          <p:cNvPr id="7" name="Freeform 9"/>
          <p:cNvSpPr>
            <a:spLocks/>
          </p:cNvSpPr>
          <p:nvPr/>
        </p:nvSpPr>
        <p:spPr bwMode="gray">
          <a:xfrm>
            <a:off x="476250" y="914400"/>
            <a:ext cx="6154738" cy="123825"/>
          </a:xfrm>
          <a:custGeom>
            <a:avLst/>
            <a:gdLst/>
            <a:ahLst/>
            <a:cxnLst>
              <a:cxn ang="0">
                <a:pos x="6456" y="79"/>
              </a:cxn>
              <a:cxn ang="0">
                <a:pos x="6456" y="79"/>
              </a:cxn>
              <a:cxn ang="0">
                <a:pos x="6422" y="44"/>
              </a:cxn>
              <a:cxn ang="0">
                <a:pos x="6422" y="44"/>
              </a:cxn>
              <a:cxn ang="0">
                <a:pos x="6366" y="36"/>
              </a:cxn>
              <a:cxn ang="0">
                <a:pos x="6366" y="37"/>
              </a:cxn>
              <a:cxn ang="0">
                <a:pos x="3247" y="37"/>
              </a:cxn>
              <a:cxn ang="0">
                <a:pos x="91" y="37"/>
              </a:cxn>
              <a:cxn ang="0">
                <a:pos x="40" y="30"/>
              </a:cxn>
              <a:cxn ang="0">
                <a:pos x="39" y="30"/>
              </a:cxn>
              <a:cxn ang="0">
                <a:pos x="8" y="1"/>
              </a:cxn>
              <a:cxn ang="0">
                <a:pos x="8" y="0"/>
              </a:cxn>
              <a:cxn ang="0">
                <a:pos x="0" y="0"/>
              </a:cxn>
              <a:cxn ang="0">
                <a:pos x="0" y="1"/>
              </a:cxn>
              <a:cxn ang="0">
                <a:pos x="1" y="34"/>
              </a:cxn>
              <a:cxn ang="0">
                <a:pos x="36" y="70"/>
              </a:cxn>
              <a:cxn ang="0">
                <a:pos x="36" y="70"/>
              </a:cxn>
              <a:cxn ang="0">
                <a:pos x="91" y="77"/>
              </a:cxn>
              <a:cxn ang="0">
                <a:pos x="91" y="77"/>
              </a:cxn>
              <a:cxn ang="0">
                <a:pos x="3180" y="77"/>
              </a:cxn>
              <a:cxn ang="0">
                <a:pos x="6366" y="77"/>
              </a:cxn>
              <a:cxn ang="0">
                <a:pos x="6417" y="83"/>
              </a:cxn>
              <a:cxn ang="0">
                <a:pos x="6419" y="84"/>
              </a:cxn>
              <a:cxn ang="0">
                <a:pos x="6450" y="113"/>
              </a:cxn>
              <a:cxn ang="0">
                <a:pos x="6450" y="114"/>
              </a:cxn>
              <a:cxn ang="0">
                <a:pos x="6458" y="114"/>
              </a:cxn>
              <a:cxn ang="0">
                <a:pos x="6458" y="113"/>
              </a:cxn>
              <a:cxn ang="0">
                <a:pos x="6456" y="79"/>
              </a:cxn>
            </a:cxnLst>
            <a:rect l="0" t="0" r="r" b="b"/>
            <a:pathLst>
              <a:path w="6458" h="114">
                <a:moveTo>
                  <a:pt x="6456" y="79"/>
                </a:moveTo>
                <a:lnTo>
                  <a:pt x="6456" y="79"/>
                </a:lnTo>
                <a:cubicBezTo>
                  <a:pt x="6454" y="60"/>
                  <a:pt x="6444" y="51"/>
                  <a:pt x="6422" y="44"/>
                </a:cubicBezTo>
                <a:lnTo>
                  <a:pt x="6422" y="44"/>
                </a:lnTo>
                <a:cubicBezTo>
                  <a:pt x="6410" y="40"/>
                  <a:pt x="6391" y="38"/>
                  <a:pt x="6366" y="36"/>
                </a:cubicBezTo>
                <a:lnTo>
                  <a:pt x="6366" y="37"/>
                </a:lnTo>
                <a:lnTo>
                  <a:pt x="3247" y="37"/>
                </a:lnTo>
                <a:lnTo>
                  <a:pt x="91" y="37"/>
                </a:lnTo>
                <a:cubicBezTo>
                  <a:pt x="70" y="35"/>
                  <a:pt x="51" y="33"/>
                  <a:pt x="40" y="30"/>
                </a:cubicBezTo>
                <a:lnTo>
                  <a:pt x="39" y="30"/>
                </a:lnTo>
                <a:cubicBezTo>
                  <a:pt x="28" y="26"/>
                  <a:pt x="7" y="19"/>
                  <a:pt x="8" y="1"/>
                </a:cubicBezTo>
                <a:lnTo>
                  <a:pt x="8" y="0"/>
                </a:lnTo>
                <a:lnTo>
                  <a:pt x="0" y="0"/>
                </a:lnTo>
                <a:lnTo>
                  <a:pt x="0" y="1"/>
                </a:lnTo>
                <a:cubicBezTo>
                  <a:pt x="0" y="11"/>
                  <a:pt x="0" y="26"/>
                  <a:pt x="1" y="34"/>
                </a:cubicBezTo>
                <a:cubicBezTo>
                  <a:pt x="4" y="53"/>
                  <a:pt x="13" y="63"/>
                  <a:pt x="36" y="70"/>
                </a:cubicBezTo>
                <a:lnTo>
                  <a:pt x="36" y="70"/>
                </a:lnTo>
                <a:cubicBezTo>
                  <a:pt x="47" y="73"/>
                  <a:pt x="66" y="75"/>
                  <a:pt x="91" y="77"/>
                </a:cubicBezTo>
                <a:lnTo>
                  <a:pt x="91" y="77"/>
                </a:lnTo>
                <a:lnTo>
                  <a:pt x="3180" y="77"/>
                </a:lnTo>
                <a:lnTo>
                  <a:pt x="6366" y="77"/>
                </a:lnTo>
                <a:cubicBezTo>
                  <a:pt x="6388" y="78"/>
                  <a:pt x="6406" y="80"/>
                  <a:pt x="6417" y="83"/>
                </a:cubicBezTo>
                <a:lnTo>
                  <a:pt x="6419" y="84"/>
                </a:lnTo>
                <a:cubicBezTo>
                  <a:pt x="6429" y="87"/>
                  <a:pt x="6450" y="94"/>
                  <a:pt x="6450" y="113"/>
                </a:cubicBezTo>
                <a:lnTo>
                  <a:pt x="6450" y="114"/>
                </a:lnTo>
                <a:lnTo>
                  <a:pt x="6458" y="114"/>
                </a:lnTo>
                <a:lnTo>
                  <a:pt x="6458" y="113"/>
                </a:lnTo>
                <a:cubicBezTo>
                  <a:pt x="6458" y="103"/>
                  <a:pt x="6457" y="87"/>
                  <a:pt x="6456" y="79"/>
                </a:cubicBezTo>
                <a:close/>
              </a:path>
            </a:pathLst>
          </a:custGeom>
          <a:solidFill>
            <a:schemeClr val="bg1">
              <a:lumMod val="65000"/>
            </a:schemeClr>
          </a:solidFill>
          <a:ln w="12700">
            <a:solidFill>
              <a:schemeClr val="bg1">
                <a:lumMod val="65000"/>
              </a:schemeClr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8" name="Freeform 9"/>
          <p:cNvSpPr>
            <a:spLocks/>
          </p:cNvSpPr>
          <p:nvPr userDrawn="1"/>
        </p:nvSpPr>
        <p:spPr bwMode="gray">
          <a:xfrm>
            <a:off x="476250" y="2419350"/>
            <a:ext cx="6154738" cy="123825"/>
          </a:xfrm>
          <a:custGeom>
            <a:avLst/>
            <a:gdLst/>
            <a:ahLst/>
            <a:cxnLst>
              <a:cxn ang="0">
                <a:pos x="6456" y="79"/>
              </a:cxn>
              <a:cxn ang="0">
                <a:pos x="6456" y="79"/>
              </a:cxn>
              <a:cxn ang="0">
                <a:pos x="6422" y="44"/>
              </a:cxn>
              <a:cxn ang="0">
                <a:pos x="6422" y="44"/>
              </a:cxn>
              <a:cxn ang="0">
                <a:pos x="6366" y="36"/>
              </a:cxn>
              <a:cxn ang="0">
                <a:pos x="6366" y="37"/>
              </a:cxn>
              <a:cxn ang="0">
                <a:pos x="3247" y="37"/>
              </a:cxn>
              <a:cxn ang="0">
                <a:pos x="91" y="37"/>
              </a:cxn>
              <a:cxn ang="0">
                <a:pos x="40" y="30"/>
              </a:cxn>
              <a:cxn ang="0">
                <a:pos x="39" y="30"/>
              </a:cxn>
              <a:cxn ang="0">
                <a:pos x="8" y="1"/>
              </a:cxn>
              <a:cxn ang="0">
                <a:pos x="8" y="0"/>
              </a:cxn>
              <a:cxn ang="0">
                <a:pos x="0" y="0"/>
              </a:cxn>
              <a:cxn ang="0">
                <a:pos x="0" y="1"/>
              </a:cxn>
              <a:cxn ang="0">
                <a:pos x="1" y="34"/>
              </a:cxn>
              <a:cxn ang="0">
                <a:pos x="36" y="70"/>
              </a:cxn>
              <a:cxn ang="0">
                <a:pos x="36" y="70"/>
              </a:cxn>
              <a:cxn ang="0">
                <a:pos x="91" y="77"/>
              </a:cxn>
              <a:cxn ang="0">
                <a:pos x="91" y="77"/>
              </a:cxn>
              <a:cxn ang="0">
                <a:pos x="3180" y="77"/>
              </a:cxn>
              <a:cxn ang="0">
                <a:pos x="6366" y="77"/>
              </a:cxn>
              <a:cxn ang="0">
                <a:pos x="6417" y="83"/>
              </a:cxn>
              <a:cxn ang="0">
                <a:pos x="6419" y="84"/>
              </a:cxn>
              <a:cxn ang="0">
                <a:pos x="6450" y="113"/>
              </a:cxn>
              <a:cxn ang="0">
                <a:pos x="6450" y="114"/>
              </a:cxn>
              <a:cxn ang="0">
                <a:pos x="6458" y="114"/>
              </a:cxn>
              <a:cxn ang="0">
                <a:pos x="6458" y="113"/>
              </a:cxn>
              <a:cxn ang="0">
                <a:pos x="6456" y="79"/>
              </a:cxn>
            </a:cxnLst>
            <a:rect l="0" t="0" r="r" b="b"/>
            <a:pathLst>
              <a:path w="6458" h="114">
                <a:moveTo>
                  <a:pt x="6456" y="79"/>
                </a:moveTo>
                <a:lnTo>
                  <a:pt x="6456" y="79"/>
                </a:lnTo>
                <a:cubicBezTo>
                  <a:pt x="6454" y="60"/>
                  <a:pt x="6444" y="51"/>
                  <a:pt x="6422" y="44"/>
                </a:cubicBezTo>
                <a:lnTo>
                  <a:pt x="6422" y="44"/>
                </a:lnTo>
                <a:cubicBezTo>
                  <a:pt x="6410" y="40"/>
                  <a:pt x="6391" y="38"/>
                  <a:pt x="6366" y="36"/>
                </a:cubicBezTo>
                <a:lnTo>
                  <a:pt x="6366" y="37"/>
                </a:lnTo>
                <a:lnTo>
                  <a:pt x="3247" y="37"/>
                </a:lnTo>
                <a:lnTo>
                  <a:pt x="91" y="37"/>
                </a:lnTo>
                <a:cubicBezTo>
                  <a:pt x="70" y="35"/>
                  <a:pt x="51" y="33"/>
                  <a:pt x="40" y="30"/>
                </a:cubicBezTo>
                <a:lnTo>
                  <a:pt x="39" y="30"/>
                </a:lnTo>
                <a:cubicBezTo>
                  <a:pt x="28" y="26"/>
                  <a:pt x="7" y="19"/>
                  <a:pt x="8" y="1"/>
                </a:cubicBezTo>
                <a:lnTo>
                  <a:pt x="8" y="0"/>
                </a:lnTo>
                <a:lnTo>
                  <a:pt x="0" y="0"/>
                </a:lnTo>
                <a:lnTo>
                  <a:pt x="0" y="1"/>
                </a:lnTo>
                <a:cubicBezTo>
                  <a:pt x="0" y="11"/>
                  <a:pt x="0" y="26"/>
                  <a:pt x="1" y="34"/>
                </a:cubicBezTo>
                <a:cubicBezTo>
                  <a:pt x="4" y="53"/>
                  <a:pt x="13" y="63"/>
                  <a:pt x="36" y="70"/>
                </a:cubicBezTo>
                <a:lnTo>
                  <a:pt x="36" y="70"/>
                </a:lnTo>
                <a:cubicBezTo>
                  <a:pt x="47" y="73"/>
                  <a:pt x="66" y="75"/>
                  <a:pt x="91" y="77"/>
                </a:cubicBezTo>
                <a:lnTo>
                  <a:pt x="91" y="77"/>
                </a:lnTo>
                <a:lnTo>
                  <a:pt x="3180" y="77"/>
                </a:lnTo>
                <a:lnTo>
                  <a:pt x="6366" y="77"/>
                </a:lnTo>
                <a:cubicBezTo>
                  <a:pt x="6388" y="78"/>
                  <a:pt x="6406" y="80"/>
                  <a:pt x="6417" y="83"/>
                </a:cubicBezTo>
                <a:lnTo>
                  <a:pt x="6419" y="84"/>
                </a:lnTo>
                <a:cubicBezTo>
                  <a:pt x="6429" y="87"/>
                  <a:pt x="6450" y="94"/>
                  <a:pt x="6450" y="113"/>
                </a:cubicBezTo>
                <a:lnTo>
                  <a:pt x="6450" y="114"/>
                </a:lnTo>
                <a:lnTo>
                  <a:pt x="6458" y="114"/>
                </a:lnTo>
                <a:lnTo>
                  <a:pt x="6458" y="113"/>
                </a:lnTo>
                <a:cubicBezTo>
                  <a:pt x="6458" y="103"/>
                  <a:pt x="6457" y="87"/>
                  <a:pt x="6456" y="79"/>
                </a:cubicBezTo>
                <a:close/>
              </a:path>
            </a:pathLst>
          </a:custGeom>
          <a:solidFill>
            <a:schemeClr val="bg1">
              <a:lumMod val="65000"/>
            </a:schemeClr>
          </a:solidFill>
          <a:ln w="12700">
            <a:solidFill>
              <a:schemeClr val="bg1">
                <a:lumMod val="65000"/>
              </a:schemeClr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6250" y="338508"/>
            <a:ext cx="1511719" cy="41148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 NO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463039"/>
            <a:ext cx="8229600" cy="48463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OMPANY CONFIDENTIAL  |  FOR INTERNAL USE ONLY  |  DO NOT COPY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2DCB2D-F3A1-47AC-A248-15826C4C808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Freeform 5"/>
          <p:cNvSpPr>
            <a:spLocks/>
          </p:cNvSpPr>
          <p:nvPr/>
        </p:nvSpPr>
        <p:spPr bwMode="gray">
          <a:xfrm>
            <a:off x="451644" y="1125895"/>
            <a:ext cx="8240713" cy="123825"/>
          </a:xfrm>
          <a:custGeom>
            <a:avLst/>
            <a:gdLst/>
            <a:ahLst/>
            <a:cxnLst>
              <a:cxn ang="0">
                <a:pos x="8638" y="79"/>
              </a:cxn>
              <a:cxn ang="0">
                <a:pos x="8638" y="79"/>
              </a:cxn>
              <a:cxn ang="0">
                <a:pos x="8604" y="44"/>
              </a:cxn>
              <a:cxn ang="0">
                <a:pos x="8604" y="44"/>
              </a:cxn>
              <a:cxn ang="0">
                <a:pos x="8548" y="36"/>
              </a:cxn>
              <a:cxn ang="0">
                <a:pos x="8548" y="37"/>
              </a:cxn>
              <a:cxn ang="0">
                <a:pos x="91" y="37"/>
              </a:cxn>
              <a:cxn ang="0">
                <a:pos x="40" y="30"/>
              </a:cxn>
              <a:cxn ang="0">
                <a:pos x="39" y="30"/>
              </a:cxn>
              <a:cxn ang="0">
                <a:pos x="8" y="1"/>
              </a:cxn>
              <a:cxn ang="0">
                <a:pos x="8" y="0"/>
              </a:cxn>
              <a:cxn ang="0">
                <a:pos x="0" y="0"/>
              </a:cxn>
              <a:cxn ang="0">
                <a:pos x="0" y="1"/>
              </a:cxn>
              <a:cxn ang="0">
                <a:pos x="1" y="34"/>
              </a:cxn>
              <a:cxn ang="0">
                <a:pos x="36" y="70"/>
              </a:cxn>
              <a:cxn ang="0">
                <a:pos x="36" y="70"/>
              </a:cxn>
              <a:cxn ang="0">
                <a:pos x="91" y="77"/>
              </a:cxn>
              <a:cxn ang="0">
                <a:pos x="91" y="77"/>
              </a:cxn>
              <a:cxn ang="0">
                <a:pos x="8548" y="77"/>
              </a:cxn>
              <a:cxn ang="0">
                <a:pos x="8599" y="83"/>
              </a:cxn>
              <a:cxn ang="0">
                <a:pos x="8601" y="84"/>
              </a:cxn>
              <a:cxn ang="0">
                <a:pos x="8632" y="113"/>
              </a:cxn>
              <a:cxn ang="0">
                <a:pos x="8632" y="114"/>
              </a:cxn>
              <a:cxn ang="0">
                <a:pos x="8640" y="114"/>
              </a:cxn>
              <a:cxn ang="0">
                <a:pos x="8640" y="113"/>
              </a:cxn>
              <a:cxn ang="0">
                <a:pos x="8638" y="79"/>
              </a:cxn>
            </a:cxnLst>
            <a:rect l="0" t="0" r="r" b="b"/>
            <a:pathLst>
              <a:path w="8640" h="114">
                <a:moveTo>
                  <a:pt x="8638" y="79"/>
                </a:moveTo>
                <a:lnTo>
                  <a:pt x="8638" y="79"/>
                </a:lnTo>
                <a:cubicBezTo>
                  <a:pt x="8635" y="60"/>
                  <a:pt x="8626" y="51"/>
                  <a:pt x="8604" y="44"/>
                </a:cubicBezTo>
                <a:lnTo>
                  <a:pt x="8604" y="44"/>
                </a:lnTo>
                <a:cubicBezTo>
                  <a:pt x="8592" y="40"/>
                  <a:pt x="8573" y="38"/>
                  <a:pt x="8548" y="36"/>
                </a:cubicBezTo>
                <a:lnTo>
                  <a:pt x="8548" y="37"/>
                </a:lnTo>
                <a:lnTo>
                  <a:pt x="91" y="37"/>
                </a:lnTo>
                <a:cubicBezTo>
                  <a:pt x="70" y="35"/>
                  <a:pt x="51" y="33"/>
                  <a:pt x="40" y="30"/>
                </a:cubicBezTo>
                <a:lnTo>
                  <a:pt x="39" y="30"/>
                </a:lnTo>
                <a:cubicBezTo>
                  <a:pt x="28" y="26"/>
                  <a:pt x="7" y="19"/>
                  <a:pt x="8" y="1"/>
                </a:cubicBezTo>
                <a:lnTo>
                  <a:pt x="8" y="0"/>
                </a:lnTo>
                <a:lnTo>
                  <a:pt x="0" y="0"/>
                </a:lnTo>
                <a:lnTo>
                  <a:pt x="0" y="1"/>
                </a:lnTo>
                <a:cubicBezTo>
                  <a:pt x="0" y="11"/>
                  <a:pt x="0" y="26"/>
                  <a:pt x="1" y="34"/>
                </a:cubicBezTo>
                <a:cubicBezTo>
                  <a:pt x="4" y="53"/>
                  <a:pt x="13" y="63"/>
                  <a:pt x="36" y="70"/>
                </a:cubicBezTo>
                <a:lnTo>
                  <a:pt x="36" y="70"/>
                </a:lnTo>
                <a:cubicBezTo>
                  <a:pt x="47" y="73"/>
                  <a:pt x="66" y="75"/>
                  <a:pt x="91" y="77"/>
                </a:cubicBezTo>
                <a:lnTo>
                  <a:pt x="91" y="77"/>
                </a:lnTo>
                <a:lnTo>
                  <a:pt x="8548" y="77"/>
                </a:lnTo>
                <a:cubicBezTo>
                  <a:pt x="8570" y="78"/>
                  <a:pt x="8588" y="80"/>
                  <a:pt x="8599" y="83"/>
                </a:cubicBezTo>
                <a:lnTo>
                  <a:pt x="8601" y="84"/>
                </a:lnTo>
                <a:cubicBezTo>
                  <a:pt x="8611" y="87"/>
                  <a:pt x="8632" y="94"/>
                  <a:pt x="8632" y="113"/>
                </a:cubicBezTo>
                <a:lnTo>
                  <a:pt x="8632" y="114"/>
                </a:lnTo>
                <a:lnTo>
                  <a:pt x="8640" y="114"/>
                </a:lnTo>
                <a:lnTo>
                  <a:pt x="8640" y="113"/>
                </a:lnTo>
                <a:cubicBezTo>
                  <a:pt x="8640" y="103"/>
                  <a:pt x="8639" y="87"/>
                  <a:pt x="8638" y="79"/>
                </a:cubicBezTo>
                <a:close/>
              </a:path>
            </a:pathLst>
          </a:custGeom>
          <a:solidFill>
            <a:schemeClr val="bg1">
              <a:lumMod val="65000"/>
            </a:schemeClr>
          </a:solidFill>
          <a:ln w="1270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1_Title and Content NO LOGO bullet first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463039"/>
            <a:ext cx="8229600" cy="4846320"/>
          </a:xfrm>
        </p:spPr>
        <p:txBody>
          <a:bodyPr/>
          <a:lstStyle>
            <a:lvl1pPr marL="236538" indent="-236538">
              <a:buSzPct val="100000"/>
              <a:buFont typeface="Arial" panose="020B0604020202020204" pitchFamily="34" charset="0"/>
              <a:buChar char="•"/>
              <a:defRPr/>
            </a:lvl1pPr>
            <a:lvl2pPr marL="736600" indent="-342900">
              <a:defRPr lang="en-US" sz="20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082675" indent="-285750">
              <a:defRPr lang="en-US" sz="18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marL="576263" lvl="1" indent="-182563" algn="l" defTabSz="914400" rtl="0" eaLnBrk="1" latinLnBrk="0" hangingPunct="1">
              <a:spcBef>
                <a:spcPts val="1000"/>
              </a:spcBef>
              <a:buClr>
                <a:schemeClr val="tx2"/>
              </a:buClr>
              <a:buFont typeface="Calibri" panose="020F0502020204030204" pitchFamily="34" charset="0"/>
              <a:buChar char="̶"/>
            </a:pPr>
            <a:r>
              <a:rPr lang="en-US" dirty="0" smtClean="0"/>
              <a:t>Second level</a:t>
            </a:r>
          </a:p>
          <a:p>
            <a:pPr marL="1025525" lvl="2" indent="-228600" algn="l" defTabSz="914400" rtl="0" eaLnBrk="1" latinLnBrk="0" hangingPunct="1">
              <a:spcBef>
                <a:spcPts val="600"/>
              </a:spcBef>
              <a:buClr>
                <a:schemeClr val="tx2"/>
              </a:buClr>
              <a:buFont typeface="Arial" pitchFamily="34" charset="0"/>
              <a:buChar char="•"/>
            </a:pPr>
            <a:r>
              <a:rPr lang="en-US" dirty="0" smtClean="0"/>
              <a:t>Third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OMPANY CONFIDENTIAL  |  FOR INTERNAL USE ONLY  |  DO NOT COPY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2DCB2D-F3A1-47AC-A248-15826C4C808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Freeform 5"/>
          <p:cNvSpPr>
            <a:spLocks/>
          </p:cNvSpPr>
          <p:nvPr/>
        </p:nvSpPr>
        <p:spPr bwMode="gray">
          <a:xfrm>
            <a:off x="451644" y="1125895"/>
            <a:ext cx="8240713" cy="123825"/>
          </a:xfrm>
          <a:custGeom>
            <a:avLst/>
            <a:gdLst/>
            <a:ahLst/>
            <a:cxnLst>
              <a:cxn ang="0">
                <a:pos x="8638" y="79"/>
              </a:cxn>
              <a:cxn ang="0">
                <a:pos x="8638" y="79"/>
              </a:cxn>
              <a:cxn ang="0">
                <a:pos x="8604" y="44"/>
              </a:cxn>
              <a:cxn ang="0">
                <a:pos x="8604" y="44"/>
              </a:cxn>
              <a:cxn ang="0">
                <a:pos x="8548" y="36"/>
              </a:cxn>
              <a:cxn ang="0">
                <a:pos x="8548" y="37"/>
              </a:cxn>
              <a:cxn ang="0">
                <a:pos x="91" y="37"/>
              </a:cxn>
              <a:cxn ang="0">
                <a:pos x="40" y="30"/>
              </a:cxn>
              <a:cxn ang="0">
                <a:pos x="39" y="30"/>
              </a:cxn>
              <a:cxn ang="0">
                <a:pos x="8" y="1"/>
              </a:cxn>
              <a:cxn ang="0">
                <a:pos x="8" y="0"/>
              </a:cxn>
              <a:cxn ang="0">
                <a:pos x="0" y="0"/>
              </a:cxn>
              <a:cxn ang="0">
                <a:pos x="0" y="1"/>
              </a:cxn>
              <a:cxn ang="0">
                <a:pos x="1" y="34"/>
              </a:cxn>
              <a:cxn ang="0">
                <a:pos x="36" y="70"/>
              </a:cxn>
              <a:cxn ang="0">
                <a:pos x="36" y="70"/>
              </a:cxn>
              <a:cxn ang="0">
                <a:pos x="91" y="77"/>
              </a:cxn>
              <a:cxn ang="0">
                <a:pos x="91" y="77"/>
              </a:cxn>
              <a:cxn ang="0">
                <a:pos x="8548" y="77"/>
              </a:cxn>
              <a:cxn ang="0">
                <a:pos x="8599" y="83"/>
              </a:cxn>
              <a:cxn ang="0">
                <a:pos x="8601" y="84"/>
              </a:cxn>
              <a:cxn ang="0">
                <a:pos x="8632" y="113"/>
              </a:cxn>
              <a:cxn ang="0">
                <a:pos x="8632" y="114"/>
              </a:cxn>
              <a:cxn ang="0">
                <a:pos x="8640" y="114"/>
              </a:cxn>
              <a:cxn ang="0">
                <a:pos x="8640" y="113"/>
              </a:cxn>
              <a:cxn ang="0">
                <a:pos x="8638" y="79"/>
              </a:cxn>
            </a:cxnLst>
            <a:rect l="0" t="0" r="r" b="b"/>
            <a:pathLst>
              <a:path w="8640" h="114">
                <a:moveTo>
                  <a:pt x="8638" y="79"/>
                </a:moveTo>
                <a:lnTo>
                  <a:pt x="8638" y="79"/>
                </a:lnTo>
                <a:cubicBezTo>
                  <a:pt x="8635" y="60"/>
                  <a:pt x="8626" y="51"/>
                  <a:pt x="8604" y="44"/>
                </a:cubicBezTo>
                <a:lnTo>
                  <a:pt x="8604" y="44"/>
                </a:lnTo>
                <a:cubicBezTo>
                  <a:pt x="8592" y="40"/>
                  <a:pt x="8573" y="38"/>
                  <a:pt x="8548" y="36"/>
                </a:cubicBezTo>
                <a:lnTo>
                  <a:pt x="8548" y="37"/>
                </a:lnTo>
                <a:lnTo>
                  <a:pt x="91" y="37"/>
                </a:lnTo>
                <a:cubicBezTo>
                  <a:pt x="70" y="35"/>
                  <a:pt x="51" y="33"/>
                  <a:pt x="40" y="30"/>
                </a:cubicBezTo>
                <a:lnTo>
                  <a:pt x="39" y="30"/>
                </a:lnTo>
                <a:cubicBezTo>
                  <a:pt x="28" y="26"/>
                  <a:pt x="7" y="19"/>
                  <a:pt x="8" y="1"/>
                </a:cubicBezTo>
                <a:lnTo>
                  <a:pt x="8" y="0"/>
                </a:lnTo>
                <a:lnTo>
                  <a:pt x="0" y="0"/>
                </a:lnTo>
                <a:lnTo>
                  <a:pt x="0" y="1"/>
                </a:lnTo>
                <a:cubicBezTo>
                  <a:pt x="0" y="11"/>
                  <a:pt x="0" y="26"/>
                  <a:pt x="1" y="34"/>
                </a:cubicBezTo>
                <a:cubicBezTo>
                  <a:pt x="4" y="53"/>
                  <a:pt x="13" y="63"/>
                  <a:pt x="36" y="70"/>
                </a:cubicBezTo>
                <a:lnTo>
                  <a:pt x="36" y="70"/>
                </a:lnTo>
                <a:cubicBezTo>
                  <a:pt x="47" y="73"/>
                  <a:pt x="66" y="75"/>
                  <a:pt x="91" y="77"/>
                </a:cubicBezTo>
                <a:lnTo>
                  <a:pt x="91" y="77"/>
                </a:lnTo>
                <a:lnTo>
                  <a:pt x="8548" y="77"/>
                </a:lnTo>
                <a:cubicBezTo>
                  <a:pt x="8570" y="78"/>
                  <a:pt x="8588" y="80"/>
                  <a:pt x="8599" y="83"/>
                </a:cubicBezTo>
                <a:lnTo>
                  <a:pt x="8601" y="84"/>
                </a:lnTo>
                <a:cubicBezTo>
                  <a:pt x="8611" y="87"/>
                  <a:pt x="8632" y="94"/>
                  <a:pt x="8632" y="113"/>
                </a:cubicBezTo>
                <a:lnTo>
                  <a:pt x="8632" y="114"/>
                </a:lnTo>
                <a:lnTo>
                  <a:pt x="8640" y="114"/>
                </a:lnTo>
                <a:lnTo>
                  <a:pt x="8640" y="113"/>
                </a:lnTo>
                <a:cubicBezTo>
                  <a:pt x="8640" y="103"/>
                  <a:pt x="8639" y="87"/>
                  <a:pt x="8638" y="79"/>
                </a:cubicBezTo>
                <a:close/>
              </a:path>
            </a:pathLst>
          </a:custGeom>
          <a:solidFill>
            <a:schemeClr val="bg1">
              <a:lumMod val="65000"/>
            </a:schemeClr>
          </a:solidFill>
          <a:ln w="1270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392119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 NO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463039"/>
            <a:ext cx="3977640" cy="4846320"/>
          </a:xfrm>
        </p:spPr>
        <p:txBody>
          <a:bodyPr>
            <a:noAutofit/>
          </a:bodyPr>
          <a:lstStyle>
            <a:lvl1pPr marL="114300" indent="-114300">
              <a:defRPr sz="2400"/>
            </a:lvl1pPr>
            <a:lvl2pPr marL="342900" indent="-228600"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09160" y="1463039"/>
            <a:ext cx="3977640" cy="4846320"/>
          </a:xfrm>
        </p:spPr>
        <p:txBody>
          <a:bodyPr>
            <a:noAutofit/>
          </a:bodyPr>
          <a:lstStyle>
            <a:lvl1pPr marL="171450" indent="-171450">
              <a:defRPr sz="2400"/>
            </a:lvl1pPr>
            <a:lvl2pPr marL="342900" indent="-171450"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OMPANY CONFIDENTIAL  |  FOR INTERNAL USE ONLY  |  DO NOT COPY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2DCB2D-F3A1-47AC-A248-15826C4C808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Freeform 5"/>
          <p:cNvSpPr>
            <a:spLocks/>
          </p:cNvSpPr>
          <p:nvPr userDrawn="1"/>
        </p:nvSpPr>
        <p:spPr bwMode="gray">
          <a:xfrm>
            <a:off x="451644" y="1125895"/>
            <a:ext cx="8240713" cy="123825"/>
          </a:xfrm>
          <a:custGeom>
            <a:avLst/>
            <a:gdLst/>
            <a:ahLst/>
            <a:cxnLst>
              <a:cxn ang="0">
                <a:pos x="8638" y="79"/>
              </a:cxn>
              <a:cxn ang="0">
                <a:pos x="8638" y="79"/>
              </a:cxn>
              <a:cxn ang="0">
                <a:pos x="8604" y="44"/>
              </a:cxn>
              <a:cxn ang="0">
                <a:pos x="8604" y="44"/>
              </a:cxn>
              <a:cxn ang="0">
                <a:pos x="8548" y="36"/>
              </a:cxn>
              <a:cxn ang="0">
                <a:pos x="8548" y="37"/>
              </a:cxn>
              <a:cxn ang="0">
                <a:pos x="91" y="37"/>
              </a:cxn>
              <a:cxn ang="0">
                <a:pos x="40" y="30"/>
              </a:cxn>
              <a:cxn ang="0">
                <a:pos x="39" y="30"/>
              </a:cxn>
              <a:cxn ang="0">
                <a:pos x="8" y="1"/>
              </a:cxn>
              <a:cxn ang="0">
                <a:pos x="8" y="0"/>
              </a:cxn>
              <a:cxn ang="0">
                <a:pos x="0" y="0"/>
              </a:cxn>
              <a:cxn ang="0">
                <a:pos x="0" y="1"/>
              </a:cxn>
              <a:cxn ang="0">
                <a:pos x="1" y="34"/>
              </a:cxn>
              <a:cxn ang="0">
                <a:pos x="36" y="70"/>
              </a:cxn>
              <a:cxn ang="0">
                <a:pos x="36" y="70"/>
              </a:cxn>
              <a:cxn ang="0">
                <a:pos x="91" y="77"/>
              </a:cxn>
              <a:cxn ang="0">
                <a:pos x="91" y="77"/>
              </a:cxn>
              <a:cxn ang="0">
                <a:pos x="8548" y="77"/>
              </a:cxn>
              <a:cxn ang="0">
                <a:pos x="8599" y="83"/>
              </a:cxn>
              <a:cxn ang="0">
                <a:pos x="8601" y="84"/>
              </a:cxn>
              <a:cxn ang="0">
                <a:pos x="8632" y="113"/>
              </a:cxn>
              <a:cxn ang="0">
                <a:pos x="8632" y="114"/>
              </a:cxn>
              <a:cxn ang="0">
                <a:pos x="8640" y="114"/>
              </a:cxn>
              <a:cxn ang="0">
                <a:pos x="8640" y="113"/>
              </a:cxn>
              <a:cxn ang="0">
                <a:pos x="8638" y="79"/>
              </a:cxn>
            </a:cxnLst>
            <a:rect l="0" t="0" r="r" b="b"/>
            <a:pathLst>
              <a:path w="8640" h="114">
                <a:moveTo>
                  <a:pt x="8638" y="79"/>
                </a:moveTo>
                <a:lnTo>
                  <a:pt x="8638" y="79"/>
                </a:lnTo>
                <a:cubicBezTo>
                  <a:pt x="8635" y="60"/>
                  <a:pt x="8626" y="51"/>
                  <a:pt x="8604" y="44"/>
                </a:cubicBezTo>
                <a:lnTo>
                  <a:pt x="8604" y="44"/>
                </a:lnTo>
                <a:cubicBezTo>
                  <a:pt x="8592" y="40"/>
                  <a:pt x="8573" y="38"/>
                  <a:pt x="8548" y="36"/>
                </a:cubicBezTo>
                <a:lnTo>
                  <a:pt x="8548" y="37"/>
                </a:lnTo>
                <a:lnTo>
                  <a:pt x="91" y="37"/>
                </a:lnTo>
                <a:cubicBezTo>
                  <a:pt x="70" y="35"/>
                  <a:pt x="51" y="33"/>
                  <a:pt x="40" y="30"/>
                </a:cubicBezTo>
                <a:lnTo>
                  <a:pt x="39" y="30"/>
                </a:lnTo>
                <a:cubicBezTo>
                  <a:pt x="28" y="26"/>
                  <a:pt x="7" y="19"/>
                  <a:pt x="8" y="1"/>
                </a:cubicBezTo>
                <a:lnTo>
                  <a:pt x="8" y="0"/>
                </a:lnTo>
                <a:lnTo>
                  <a:pt x="0" y="0"/>
                </a:lnTo>
                <a:lnTo>
                  <a:pt x="0" y="1"/>
                </a:lnTo>
                <a:cubicBezTo>
                  <a:pt x="0" y="11"/>
                  <a:pt x="0" y="26"/>
                  <a:pt x="1" y="34"/>
                </a:cubicBezTo>
                <a:cubicBezTo>
                  <a:pt x="4" y="53"/>
                  <a:pt x="13" y="63"/>
                  <a:pt x="36" y="70"/>
                </a:cubicBezTo>
                <a:lnTo>
                  <a:pt x="36" y="70"/>
                </a:lnTo>
                <a:cubicBezTo>
                  <a:pt x="47" y="73"/>
                  <a:pt x="66" y="75"/>
                  <a:pt x="91" y="77"/>
                </a:cubicBezTo>
                <a:lnTo>
                  <a:pt x="91" y="77"/>
                </a:lnTo>
                <a:lnTo>
                  <a:pt x="8548" y="77"/>
                </a:lnTo>
                <a:cubicBezTo>
                  <a:pt x="8570" y="78"/>
                  <a:pt x="8588" y="80"/>
                  <a:pt x="8599" y="83"/>
                </a:cubicBezTo>
                <a:lnTo>
                  <a:pt x="8601" y="84"/>
                </a:lnTo>
                <a:cubicBezTo>
                  <a:pt x="8611" y="87"/>
                  <a:pt x="8632" y="94"/>
                  <a:pt x="8632" y="113"/>
                </a:cubicBezTo>
                <a:lnTo>
                  <a:pt x="8632" y="114"/>
                </a:lnTo>
                <a:lnTo>
                  <a:pt x="8640" y="114"/>
                </a:lnTo>
                <a:lnTo>
                  <a:pt x="8640" y="113"/>
                </a:lnTo>
                <a:cubicBezTo>
                  <a:pt x="8640" y="103"/>
                  <a:pt x="8639" y="87"/>
                  <a:pt x="8638" y="79"/>
                </a:cubicBezTo>
                <a:close/>
              </a:path>
            </a:pathLst>
          </a:custGeom>
          <a:solidFill>
            <a:schemeClr val="bg1">
              <a:lumMod val="65000"/>
            </a:schemeClr>
          </a:solidFill>
          <a:ln w="1270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ext on Left Only NO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463039"/>
            <a:ext cx="3977640" cy="4846320"/>
          </a:xfrm>
        </p:spPr>
        <p:txBody>
          <a:bodyPr>
            <a:noAutofit/>
          </a:bodyPr>
          <a:lstStyle>
            <a:lvl1pPr marL="114300" indent="-114300">
              <a:defRPr sz="2400"/>
            </a:lvl1pPr>
            <a:lvl2pPr marL="342900" indent="-228600"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OMPANY CONFIDENTIAL  |  FOR INTERNAL USE ONLY  |  DO NOT COPY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2DCB2D-F3A1-47AC-A248-15826C4C808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Freeform 5"/>
          <p:cNvSpPr>
            <a:spLocks/>
          </p:cNvSpPr>
          <p:nvPr/>
        </p:nvSpPr>
        <p:spPr bwMode="gray">
          <a:xfrm>
            <a:off x="451644" y="1125895"/>
            <a:ext cx="8240713" cy="123825"/>
          </a:xfrm>
          <a:custGeom>
            <a:avLst/>
            <a:gdLst/>
            <a:ahLst/>
            <a:cxnLst>
              <a:cxn ang="0">
                <a:pos x="8638" y="79"/>
              </a:cxn>
              <a:cxn ang="0">
                <a:pos x="8638" y="79"/>
              </a:cxn>
              <a:cxn ang="0">
                <a:pos x="8604" y="44"/>
              </a:cxn>
              <a:cxn ang="0">
                <a:pos x="8604" y="44"/>
              </a:cxn>
              <a:cxn ang="0">
                <a:pos x="8548" y="36"/>
              </a:cxn>
              <a:cxn ang="0">
                <a:pos x="8548" y="37"/>
              </a:cxn>
              <a:cxn ang="0">
                <a:pos x="91" y="37"/>
              </a:cxn>
              <a:cxn ang="0">
                <a:pos x="40" y="30"/>
              </a:cxn>
              <a:cxn ang="0">
                <a:pos x="39" y="30"/>
              </a:cxn>
              <a:cxn ang="0">
                <a:pos x="8" y="1"/>
              </a:cxn>
              <a:cxn ang="0">
                <a:pos x="8" y="0"/>
              </a:cxn>
              <a:cxn ang="0">
                <a:pos x="0" y="0"/>
              </a:cxn>
              <a:cxn ang="0">
                <a:pos x="0" y="1"/>
              </a:cxn>
              <a:cxn ang="0">
                <a:pos x="1" y="34"/>
              </a:cxn>
              <a:cxn ang="0">
                <a:pos x="36" y="70"/>
              </a:cxn>
              <a:cxn ang="0">
                <a:pos x="36" y="70"/>
              </a:cxn>
              <a:cxn ang="0">
                <a:pos x="91" y="77"/>
              </a:cxn>
              <a:cxn ang="0">
                <a:pos x="91" y="77"/>
              </a:cxn>
              <a:cxn ang="0">
                <a:pos x="8548" y="77"/>
              </a:cxn>
              <a:cxn ang="0">
                <a:pos x="8599" y="83"/>
              </a:cxn>
              <a:cxn ang="0">
                <a:pos x="8601" y="84"/>
              </a:cxn>
              <a:cxn ang="0">
                <a:pos x="8632" y="113"/>
              </a:cxn>
              <a:cxn ang="0">
                <a:pos x="8632" y="114"/>
              </a:cxn>
              <a:cxn ang="0">
                <a:pos x="8640" y="114"/>
              </a:cxn>
              <a:cxn ang="0">
                <a:pos x="8640" y="113"/>
              </a:cxn>
              <a:cxn ang="0">
                <a:pos x="8638" y="79"/>
              </a:cxn>
            </a:cxnLst>
            <a:rect l="0" t="0" r="r" b="b"/>
            <a:pathLst>
              <a:path w="8640" h="114">
                <a:moveTo>
                  <a:pt x="8638" y="79"/>
                </a:moveTo>
                <a:lnTo>
                  <a:pt x="8638" y="79"/>
                </a:lnTo>
                <a:cubicBezTo>
                  <a:pt x="8635" y="60"/>
                  <a:pt x="8626" y="51"/>
                  <a:pt x="8604" y="44"/>
                </a:cubicBezTo>
                <a:lnTo>
                  <a:pt x="8604" y="44"/>
                </a:lnTo>
                <a:cubicBezTo>
                  <a:pt x="8592" y="40"/>
                  <a:pt x="8573" y="38"/>
                  <a:pt x="8548" y="36"/>
                </a:cubicBezTo>
                <a:lnTo>
                  <a:pt x="8548" y="37"/>
                </a:lnTo>
                <a:lnTo>
                  <a:pt x="91" y="37"/>
                </a:lnTo>
                <a:cubicBezTo>
                  <a:pt x="70" y="35"/>
                  <a:pt x="51" y="33"/>
                  <a:pt x="40" y="30"/>
                </a:cubicBezTo>
                <a:lnTo>
                  <a:pt x="39" y="30"/>
                </a:lnTo>
                <a:cubicBezTo>
                  <a:pt x="28" y="26"/>
                  <a:pt x="7" y="19"/>
                  <a:pt x="8" y="1"/>
                </a:cubicBezTo>
                <a:lnTo>
                  <a:pt x="8" y="0"/>
                </a:lnTo>
                <a:lnTo>
                  <a:pt x="0" y="0"/>
                </a:lnTo>
                <a:lnTo>
                  <a:pt x="0" y="1"/>
                </a:lnTo>
                <a:cubicBezTo>
                  <a:pt x="0" y="11"/>
                  <a:pt x="0" y="26"/>
                  <a:pt x="1" y="34"/>
                </a:cubicBezTo>
                <a:cubicBezTo>
                  <a:pt x="4" y="53"/>
                  <a:pt x="13" y="63"/>
                  <a:pt x="36" y="70"/>
                </a:cubicBezTo>
                <a:lnTo>
                  <a:pt x="36" y="70"/>
                </a:lnTo>
                <a:cubicBezTo>
                  <a:pt x="47" y="73"/>
                  <a:pt x="66" y="75"/>
                  <a:pt x="91" y="77"/>
                </a:cubicBezTo>
                <a:lnTo>
                  <a:pt x="91" y="77"/>
                </a:lnTo>
                <a:lnTo>
                  <a:pt x="8548" y="77"/>
                </a:lnTo>
                <a:cubicBezTo>
                  <a:pt x="8570" y="78"/>
                  <a:pt x="8588" y="80"/>
                  <a:pt x="8599" y="83"/>
                </a:cubicBezTo>
                <a:lnTo>
                  <a:pt x="8601" y="84"/>
                </a:lnTo>
                <a:cubicBezTo>
                  <a:pt x="8611" y="87"/>
                  <a:pt x="8632" y="94"/>
                  <a:pt x="8632" y="113"/>
                </a:cubicBezTo>
                <a:lnTo>
                  <a:pt x="8632" y="114"/>
                </a:lnTo>
                <a:lnTo>
                  <a:pt x="8640" y="114"/>
                </a:lnTo>
                <a:lnTo>
                  <a:pt x="8640" y="113"/>
                </a:lnTo>
                <a:cubicBezTo>
                  <a:pt x="8640" y="103"/>
                  <a:pt x="8639" y="87"/>
                  <a:pt x="8638" y="79"/>
                </a:cubicBezTo>
                <a:close/>
              </a:path>
            </a:pathLst>
          </a:custGeom>
          <a:solidFill>
            <a:schemeClr val="bg1">
              <a:lumMod val="65000"/>
            </a:schemeClr>
          </a:solidFill>
          <a:ln w="1270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ext on Right Only NO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09160" y="1463039"/>
            <a:ext cx="3977640" cy="4846320"/>
          </a:xfrm>
        </p:spPr>
        <p:txBody>
          <a:bodyPr>
            <a:noAutofit/>
          </a:bodyPr>
          <a:lstStyle>
            <a:lvl1pPr marL="109538" indent="-109538"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OMPANY CONFIDENTIAL  |  FOR INTERNAL USE ONLY  |  DO NOT COPY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2DCB2D-F3A1-47AC-A248-15826C4C808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Freeform 5"/>
          <p:cNvSpPr>
            <a:spLocks/>
          </p:cNvSpPr>
          <p:nvPr userDrawn="1"/>
        </p:nvSpPr>
        <p:spPr bwMode="gray">
          <a:xfrm>
            <a:off x="451644" y="1125895"/>
            <a:ext cx="8240713" cy="123825"/>
          </a:xfrm>
          <a:custGeom>
            <a:avLst/>
            <a:gdLst/>
            <a:ahLst/>
            <a:cxnLst>
              <a:cxn ang="0">
                <a:pos x="8638" y="79"/>
              </a:cxn>
              <a:cxn ang="0">
                <a:pos x="8638" y="79"/>
              </a:cxn>
              <a:cxn ang="0">
                <a:pos x="8604" y="44"/>
              </a:cxn>
              <a:cxn ang="0">
                <a:pos x="8604" y="44"/>
              </a:cxn>
              <a:cxn ang="0">
                <a:pos x="8548" y="36"/>
              </a:cxn>
              <a:cxn ang="0">
                <a:pos x="8548" y="37"/>
              </a:cxn>
              <a:cxn ang="0">
                <a:pos x="91" y="37"/>
              </a:cxn>
              <a:cxn ang="0">
                <a:pos x="40" y="30"/>
              </a:cxn>
              <a:cxn ang="0">
                <a:pos x="39" y="30"/>
              </a:cxn>
              <a:cxn ang="0">
                <a:pos x="8" y="1"/>
              </a:cxn>
              <a:cxn ang="0">
                <a:pos x="8" y="0"/>
              </a:cxn>
              <a:cxn ang="0">
                <a:pos x="0" y="0"/>
              </a:cxn>
              <a:cxn ang="0">
                <a:pos x="0" y="1"/>
              </a:cxn>
              <a:cxn ang="0">
                <a:pos x="1" y="34"/>
              </a:cxn>
              <a:cxn ang="0">
                <a:pos x="36" y="70"/>
              </a:cxn>
              <a:cxn ang="0">
                <a:pos x="36" y="70"/>
              </a:cxn>
              <a:cxn ang="0">
                <a:pos x="91" y="77"/>
              </a:cxn>
              <a:cxn ang="0">
                <a:pos x="91" y="77"/>
              </a:cxn>
              <a:cxn ang="0">
                <a:pos x="8548" y="77"/>
              </a:cxn>
              <a:cxn ang="0">
                <a:pos x="8599" y="83"/>
              </a:cxn>
              <a:cxn ang="0">
                <a:pos x="8601" y="84"/>
              </a:cxn>
              <a:cxn ang="0">
                <a:pos x="8632" y="113"/>
              </a:cxn>
              <a:cxn ang="0">
                <a:pos x="8632" y="114"/>
              </a:cxn>
              <a:cxn ang="0">
                <a:pos x="8640" y="114"/>
              </a:cxn>
              <a:cxn ang="0">
                <a:pos x="8640" y="113"/>
              </a:cxn>
              <a:cxn ang="0">
                <a:pos x="8638" y="79"/>
              </a:cxn>
            </a:cxnLst>
            <a:rect l="0" t="0" r="r" b="b"/>
            <a:pathLst>
              <a:path w="8640" h="114">
                <a:moveTo>
                  <a:pt x="8638" y="79"/>
                </a:moveTo>
                <a:lnTo>
                  <a:pt x="8638" y="79"/>
                </a:lnTo>
                <a:cubicBezTo>
                  <a:pt x="8635" y="60"/>
                  <a:pt x="8626" y="51"/>
                  <a:pt x="8604" y="44"/>
                </a:cubicBezTo>
                <a:lnTo>
                  <a:pt x="8604" y="44"/>
                </a:lnTo>
                <a:cubicBezTo>
                  <a:pt x="8592" y="40"/>
                  <a:pt x="8573" y="38"/>
                  <a:pt x="8548" y="36"/>
                </a:cubicBezTo>
                <a:lnTo>
                  <a:pt x="8548" y="37"/>
                </a:lnTo>
                <a:lnTo>
                  <a:pt x="91" y="37"/>
                </a:lnTo>
                <a:cubicBezTo>
                  <a:pt x="70" y="35"/>
                  <a:pt x="51" y="33"/>
                  <a:pt x="40" y="30"/>
                </a:cubicBezTo>
                <a:lnTo>
                  <a:pt x="39" y="30"/>
                </a:lnTo>
                <a:cubicBezTo>
                  <a:pt x="28" y="26"/>
                  <a:pt x="7" y="19"/>
                  <a:pt x="8" y="1"/>
                </a:cubicBezTo>
                <a:lnTo>
                  <a:pt x="8" y="0"/>
                </a:lnTo>
                <a:lnTo>
                  <a:pt x="0" y="0"/>
                </a:lnTo>
                <a:lnTo>
                  <a:pt x="0" y="1"/>
                </a:lnTo>
                <a:cubicBezTo>
                  <a:pt x="0" y="11"/>
                  <a:pt x="0" y="26"/>
                  <a:pt x="1" y="34"/>
                </a:cubicBezTo>
                <a:cubicBezTo>
                  <a:pt x="4" y="53"/>
                  <a:pt x="13" y="63"/>
                  <a:pt x="36" y="70"/>
                </a:cubicBezTo>
                <a:lnTo>
                  <a:pt x="36" y="70"/>
                </a:lnTo>
                <a:cubicBezTo>
                  <a:pt x="47" y="73"/>
                  <a:pt x="66" y="75"/>
                  <a:pt x="91" y="77"/>
                </a:cubicBezTo>
                <a:lnTo>
                  <a:pt x="91" y="77"/>
                </a:lnTo>
                <a:lnTo>
                  <a:pt x="8548" y="77"/>
                </a:lnTo>
                <a:cubicBezTo>
                  <a:pt x="8570" y="78"/>
                  <a:pt x="8588" y="80"/>
                  <a:pt x="8599" y="83"/>
                </a:cubicBezTo>
                <a:lnTo>
                  <a:pt x="8601" y="84"/>
                </a:lnTo>
                <a:cubicBezTo>
                  <a:pt x="8611" y="87"/>
                  <a:pt x="8632" y="94"/>
                  <a:pt x="8632" y="113"/>
                </a:cubicBezTo>
                <a:lnTo>
                  <a:pt x="8632" y="114"/>
                </a:lnTo>
                <a:lnTo>
                  <a:pt x="8640" y="114"/>
                </a:lnTo>
                <a:lnTo>
                  <a:pt x="8640" y="113"/>
                </a:lnTo>
                <a:cubicBezTo>
                  <a:pt x="8640" y="103"/>
                  <a:pt x="8639" y="87"/>
                  <a:pt x="8638" y="79"/>
                </a:cubicBezTo>
                <a:close/>
              </a:path>
            </a:pathLst>
          </a:custGeom>
          <a:solidFill>
            <a:schemeClr val="bg1">
              <a:lumMod val="65000"/>
            </a:schemeClr>
          </a:solidFill>
          <a:ln w="1270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 NO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OMPANY CONFIDENTIAL  |  FOR INTERNAL USE ONLY  |  DO NOT COPY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2DCB2D-F3A1-47AC-A248-15826C4C808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Freeform 5"/>
          <p:cNvSpPr>
            <a:spLocks/>
          </p:cNvSpPr>
          <p:nvPr/>
        </p:nvSpPr>
        <p:spPr bwMode="gray">
          <a:xfrm>
            <a:off x="451644" y="1125895"/>
            <a:ext cx="8240713" cy="123825"/>
          </a:xfrm>
          <a:custGeom>
            <a:avLst/>
            <a:gdLst/>
            <a:ahLst/>
            <a:cxnLst>
              <a:cxn ang="0">
                <a:pos x="8638" y="79"/>
              </a:cxn>
              <a:cxn ang="0">
                <a:pos x="8638" y="79"/>
              </a:cxn>
              <a:cxn ang="0">
                <a:pos x="8604" y="44"/>
              </a:cxn>
              <a:cxn ang="0">
                <a:pos x="8604" y="44"/>
              </a:cxn>
              <a:cxn ang="0">
                <a:pos x="8548" y="36"/>
              </a:cxn>
              <a:cxn ang="0">
                <a:pos x="8548" y="37"/>
              </a:cxn>
              <a:cxn ang="0">
                <a:pos x="91" y="37"/>
              </a:cxn>
              <a:cxn ang="0">
                <a:pos x="40" y="30"/>
              </a:cxn>
              <a:cxn ang="0">
                <a:pos x="39" y="30"/>
              </a:cxn>
              <a:cxn ang="0">
                <a:pos x="8" y="1"/>
              </a:cxn>
              <a:cxn ang="0">
                <a:pos x="8" y="0"/>
              </a:cxn>
              <a:cxn ang="0">
                <a:pos x="0" y="0"/>
              </a:cxn>
              <a:cxn ang="0">
                <a:pos x="0" y="1"/>
              </a:cxn>
              <a:cxn ang="0">
                <a:pos x="1" y="34"/>
              </a:cxn>
              <a:cxn ang="0">
                <a:pos x="36" y="70"/>
              </a:cxn>
              <a:cxn ang="0">
                <a:pos x="36" y="70"/>
              </a:cxn>
              <a:cxn ang="0">
                <a:pos x="91" y="77"/>
              </a:cxn>
              <a:cxn ang="0">
                <a:pos x="91" y="77"/>
              </a:cxn>
              <a:cxn ang="0">
                <a:pos x="8548" y="77"/>
              </a:cxn>
              <a:cxn ang="0">
                <a:pos x="8599" y="83"/>
              </a:cxn>
              <a:cxn ang="0">
                <a:pos x="8601" y="84"/>
              </a:cxn>
              <a:cxn ang="0">
                <a:pos x="8632" y="113"/>
              </a:cxn>
              <a:cxn ang="0">
                <a:pos x="8632" y="114"/>
              </a:cxn>
              <a:cxn ang="0">
                <a:pos x="8640" y="114"/>
              </a:cxn>
              <a:cxn ang="0">
                <a:pos x="8640" y="113"/>
              </a:cxn>
              <a:cxn ang="0">
                <a:pos x="8638" y="79"/>
              </a:cxn>
            </a:cxnLst>
            <a:rect l="0" t="0" r="r" b="b"/>
            <a:pathLst>
              <a:path w="8640" h="114">
                <a:moveTo>
                  <a:pt x="8638" y="79"/>
                </a:moveTo>
                <a:lnTo>
                  <a:pt x="8638" y="79"/>
                </a:lnTo>
                <a:cubicBezTo>
                  <a:pt x="8635" y="60"/>
                  <a:pt x="8626" y="51"/>
                  <a:pt x="8604" y="44"/>
                </a:cubicBezTo>
                <a:lnTo>
                  <a:pt x="8604" y="44"/>
                </a:lnTo>
                <a:cubicBezTo>
                  <a:pt x="8592" y="40"/>
                  <a:pt x="8573" y="38"/>
                  <a:pt x="8548" y="36"/>
                </a:cubicBezTo>
                <a:lnTo>
                  <a:pt x="8548" y="37"/>
                </a:lnTo>
                <a:lnTo>
                  <a:pt x="91" y="37"/>
                </a:lnTo>
                <a:cubicBezTo>
                  <a:pt x="70" y="35"/>
                  <a:pt x="51" y="33"/>
                  <a:pt x="40" y="30"/>
                </a:cubicBezTo>
                <a:lnTo>
                  <a:pt x="39" y="30"/>
                </a:lnTo>
                <a:cubicBezTo>
                  <a:pt x="28" y="26"/>
                  <a:pt x="7" y="19"/>
                  <a:pt x="8" y="1"/>
                </a:cubicBezTo>
                <a:lnTo>
                  <a:pt x="8" y="0"/>
                </a:lnTo>
                <a:lnTo>
                  <a:pt x="0" y="0"/>
                </a:lnTo>
                <a:lnTo>
                  <a:pt x="0" y="1"/>
                </a:lnTo>
                <a:cubicBezTo>
                  <a:pt x="0" y="11"/>
                  <a:pt x="0" y="26"/>
                  <a:pt x="1" y="34"/>
                </a:cubicBezTo>
                <a:cubicBezTo>
                  <a:pt x="4" y="53"/>
                  <a:pt x="13" y="63"/>
                  <a:pt x="36" y="70"/>
                </a:cubicBezTo>
                <a:lnTo>
                  <a:pt x="36" y="70"/>
                </a:lnTo>
                <a:cubicBezTo>
                  <a:pt x="47" y="73"/>
                  <a:pt x="66" y="75"/>
                  <a:pt x="91" y="77"/>
                </a:cubicBezTo>
                <a:lnTo>
                  <a:pt x="91" y="77"/>
                </a:lnTo>
                <a:lnTo>
                  <a:pt x="8548" y="77"/>
                </a:lnTo>
                <a:cubicBezTo>
                  <a:pt x="8570" y="78"/>
                  <a:pt x="8588" y="80"/>
                  <a:pt x="8599" y="83"/>
                </a:cubicBezTo>
                <a:lnTo>
                  <a:pt x="8601" y="84"/>
                </a:lnTo>
                <a:cubicBezTo>
                  <a:pt x="8611" y="87"/>
                  <a:pt x="8632" y="94"/>
                  <a:pt x="8632" y="113"/>
                </a:cubicBezTo>
                <a:lnTo>
                  <a:pt x="8632" y="114"/>
                </a:lnTo>
                <a:lnTo>
                  <a:pt x="8640" y="114"/>
                </a:lnTo>
                <a:lnTo>
                  <a:pt x="8640" y="113"/>
                </a:lnTo>
                <a:cubicBezTo>
                  <a:pt x="8640" y="103"/>
                  <a:pt x="8639" y="87"/>
                  <a:pt x="8638" y="79"/>
                </a:cubicBezTo>
                <a:close/>
              </a:path>
            </a:pathLst>
          </a:custGeom>
          <a:solidFill>
            <a:schemeClr val="bg1">
              <a:lumMod val="65000"/>
            </a:schemeClr>
          </a:solidFill>
          <a:ln w="1270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 NO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OMPANY CONFIDENTIAL  |  FOR INTERNAL USE ONLY  |  DO NOT COPY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2DCB2D-F3A1-47AC-A248-15826C4C808C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1280160"/>
            <a:ext cx="4114800" cy="1499616"/>
          </a:xfrm>
        </p:spPr>
        <p:txBody>
          <a:bodyPr anchor="b" anchorCtr="0">
            <a:noAutofit/>
          </a:bodyPr>
          <a:lstStyle>
            <a:lvl1pPr algn="l">
              <a:lnSpc>
                <a:spcPct val="90000"/>
              </a:lnSpc>
              <a:defRPr sz="5400" b="0" cap="none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Divider Tit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3291839"/>
            <a:ext cx="4114800" cy="1828800"/>
          </a:xfrm>
        </p:spPr>
        <p:txBody>
          <a:bodyPr anchor="t" anchorCtr="0">
            <a:noAutofit/>
          </a:bodyPr>
          <a:lstStyle>
            <a:lvl1pPr marL="0" indent="0">
              <a:lnSpc>
                <a:spcPct val="120000"/>
              </a:lnSpc>
              <a:spcBef>
                <a:spcPts val="600"/>
              </a:spcBef>
              <a:buNone/>
              <a:defRPr sz="2200">
                <a:solidFill>
                  <a:schemeClr val="bg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 smtClean="0"/>
              <a:t>COMPANY CONFIDENTIAL  |  FOR INTERNAL USE ONLY  |  DO NOT COPY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1A2DCB2D-F3A1-47AC-A248-15826C4C808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Freeform 17"/>
          <p:cNvSpPr>
            <a:spLocks/>
          </p:cNvSpPr>
          <p:nvPr userDrawn="1"/>
        </p:nvSpPr>
        <p:spPr bwMode="gray">
          <a:xfrm>
            <a:off x="0" y="2940758"/>
            <a:ext cx="4530725" cy="239713"/>
          </a:xfrm>
          <a:custGeom>
            <a:avLst/>
            <a:gdLst/>
            <a:ahLst/>
            <a:cxnLst>
              <a:cxn ang="0">
                <a:pos x="2103" y="130"/>
              </a:cxn>
              <a:cxn ang="0">
                <a:pos x="2103" y="130"/>
              </a:cxn>
              <a:cxn ang="0">
                <a:pos x="4451" y="130"/>
              </a:cxn>
              <a:cxn ang="0">
                <a:pos x="4615" y="151"/>
              </a:cxn>
              <a:cxn ang="0">
                <a:pos x="4619" y="152"/>
              </a:cxn>
              <a:cxn ang="0">
                <a:pos x="4718" y="244"/>
              </a:cxn>
              <a:cxn ang="0">
                <a:pos x="4718" y="250"/>
              </a:cxn>
              <a:cxn ang="0">
                <a:pos x="4744" y="250"/>
              </a:cxn>
              <a:cxn ang="0">
                <a:pos x="4744" y="244"/>
              </a:cxn>
              <a:cxn ang="0">
                <a:pos x="4740" y="137"/>
              </a:cxn>
              <a:cxn ang="0">
                <a:pos x="4628" y="24"/>
              </a:cxn>
              <a:cxn ang="0">
                <a:pos x="4628" y="24"/>
              </a:cxn>
              <a:cxn ang="0">
                <a:pos x="4451" y="0"/>
              </a:cxn>
              <a:cxn ang="0">
                <a:pos x="4451" y="1"/>
              </a:cxn>
              <a:cxn ang="0">
                <a:pos x="2159" y="1"/>
              </a:cxn>
              <a:cxn ang="0">
                <a:pos x="0" y="1"/>
              </a:cxn>
              <a:cxn ang="0">
                <a:pos x="0" y="130"/>
              </a:cxn>
              <a:cxn ang="0">
                <a:pos x="2103" y="130"/>
              </a:cxn>
            </a:cxnLst>
            <a:rect l="0" t="0" r="r" b="b"/>
            <a:pathLst>
              <a:path w="4745" h="250">
                <a:moveTo>
                  <a:pt x="2103" y="130"/>
                </a:moveTo>
                <a:lnTo>
                  <a:pt x="2103" y="130"/>
                </a:lnTo>
                <a:lnTo>
                  <a:pt x="4451" y="130"/>
                </a:lnTo>
                <a:cubicBezTo>
                  <a:pt x="4519" y="133"/>
                  <a:pt x="4578" y="140"/>
                  <a:pt x="4615" y="151"/>
                </a:cubicBezTo>
                <a:lnTo>
                  <a:pt x="4619" y="152"/>
                </a:lnTo>
                <a:cubicBezTo>
                  <a:pt x="4652" y="163"/>
                  <a:pt x="4720" y="186"/>
                  <a:pt x="4718" y="244"/>
                </a:cubicBezTo>
                <a:lnTo>
                  <a:pt x="4718" y="250"/>
                </a:lnTo>
                <a:lnTo>
                  <a:pt x="4744" y="250"/>
                </a:lnTo>
                <a:lnTo>
                  <a:pt x="4744" y="244"/>
                </a:lnTo>
                <a:cubicBezTo>
                  <a:pt x="4745" y="213"/>
                  <a:pt x="4743" y="164"/>
                  <a:pt x="4740" y="137"/>
                </a:cubicBezTo>
                <a:cubicBezTo>
                  <a:pt x="4731" y="77"/>
                  <a:pt x="4701" y="47"/>
                  <a:pt x="4628" y="24"/>
                </a:cubicBezTo>
                <a:lnTo>
                  <a:pt x="4628" y="24"/>
                </a:lnTo>
                <a:cubicBezTo>
                  <a:pt x="4591" y="13"/>
                  <a:pt x="4532" y="5"/>
                  <a:pt x="4451" y="0"/>
                </a:cubicBezTo>
                <a:lnTo>
                  <a:pt x="4451" y="1"/>
                </a:lnTo>
                <a:lnTo>
                  <a:pt x="2159" y="1"/>
                </a:lnTo>
                <a:lnTo>
                  <a:pt x="0" y="1"/>
                </a:lnTo>
                <a:lnTo>
                  <a:pt x="0" y="130"/>
                </a:lnTo>
                <a:lnTo>
                  <a:pt x="2103" y="130"/>
                </a:lnTo>
                <a:close/>
              </a:path>
            </a:pathLst>
          </a:custGeom>
          <a:solidFill>
            <a:schemeClr val="bg1"/>
          </a:solidFill>
          <a:ln w="0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 Light Blue">
    <p:bg bwMode="gray"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1280160"/>
            <a:ext cx="4114800" cy="1499616"/>
          </a:xfrm>
        </p:spPr>
        <p:txBody>
          <a:bodyPr anchor="b" anchorCtr="0">
            <a:noAutofit/>
          </a:bodyPr>
          <a:lstStyle>
            <a:lvl1pPr algn="l">
              <a:lnSpc>
                <a:spcPct val="90000"/>
              </a:lnSpc>
              <a:defRPr sz="5400" b="0" cap="none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Divider Tit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3291839"/>
            <a:ext cx="4114800" cy="1828800"/>
          </a:xfrm>
        </p:spPr>
        <p:txBody>
          <a:bodyPr anchor="t" anchorCtr="0">
            <a:noAutofit/>
          </a:bodyPr>
          <a:lstStyle>
            <a:lvl1pPr marL="0" indent="0">
              <a:lnSpc>
                <a:spcPct val="120000"/>
              </a:lnSpc>
              <a:spcBef>
                <a:spcPts val="600"/>
              </a:spcBef>
              <a:buNone/>
              <a:defRPr sz="2200">
                <a:solidFill>
                  <a:schemeClr val="bg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 smtClean="0"/>
              <a:t>COMPANY CONFIDENTIAL  |  FOR INTERNAL USE ONLY  |  DO NOT COPY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1A2DCB2D-F3A1-47AC-A248-15826C4C808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Freeform 17"/>
          <p:cNvSpPr>
            <a:spLocks/>
          </p:cNvSpPr>
          <p:nvPr/>
        </p:nvSpPr>
        <p:spPr bwMode="gray">
          <a:xfrm>
            <a:off x="0" y="2940758"/>
            <a:ext cx="4530725" cy="239713"/>
          </a:xfrm>
          <a:custGeom>
            <a:avLst/>
            <a:gdLst/>
            <a:ahLst/>
            <a:cxnLst>
              <a:cxn ang="0">
                <a:pos x="2103" y="130"/>
              </a:cxn>
              <a:cxn ang="0">
                <a:pos x="2103" y="130"/>
              </a:cxn>
              <a:cxn ang="0">
                <a:pos x="4451" y="130"/>
              </a:cxn>
              <a:cxn ang="0">
                <a:pos x="4615" y="151"/>
              </a:cxn>
              <a:cxn ang="0">
                <a:pos x="4619" y="152"/>
              </a:cxn>
              <a:cxn ang="0">
                <a:pos x="4718" y="244"/>
              </a:cxn>
              <a:cxn ang="0">
                <a:pos x="4718" y="250"/>
              </a:cxn>
              <a:cxn ang="0">
                <a:pos x="4744" y="250"/>
              </a:cxn>
              <a:cxn ang="0">
                <a:pos x="4744" y="244"/>
              </a:cxn>
              <a:cxn ang="0">
                <a:pos x="4740" y="137"/>
              </a:cxn>
              <a:cxn ang="0">
                <a:pos x="4628" y="24"/>
              </a:cxn>
              <a:cxn ang="0">
                <a:pos x="4628" y="24"/>
              </a:cxn>
              <a:cxn ang="0">
                <a:pos x="4451" y="0"/>
              </a:cxn>
              <a:cxn ang="0">
                <a:pos x="4451" y="1"/>
              </a:cxn>
              <a:cxn ang="0">
                <a:pos x="2159" y="1"/>
              </a:cxn>
              <a:cxn ang="0">
                <a:pos x="0" y="1"/>
              </a:cxn>
              <a:cxn ang="0">
                <a:pos x="0" y="130"/>
              </a:cxn>
              <a:cxn ang="0">
                <a:pos x="2103" y="130"/>
              </a:cxn>
            </a:cxnLst>
            <a:rect l="0" t="0" r="r" b="b"/>
            <a:pathLst>
              <a:path w="4745" h="250">
                <a:moveTo>
                  <a:pt x="2103" y="130"/>
                </a:moveTo>
                <a:lnTo>
                  <a:pt x="2103" y="130"/>
                </a:lnTo>
                <a:lnTo>
                  <a:pt x="4451" y="130"/>
                </a:lnTo>
                <a:cubicBezTo>
                  <a:pt x="4519" y="133"/>
                  <a:pt x="4578" y="140"/>
                  <a:pt x="4615" y="151"/>
                </a:cubicBezTo>
                <a:lnTo>
                  <a:pt x="4619" y="152"/>
                </a:lnTo>
                <a:cubicBezTo>
                  <a:pt x="4652" y="163"/>
                  <a:pt x="4720" y="186"/>
                  <a:pt x="4718" y="244"/>
                </a:cubicBezTo>
                <a:lnTo>
                  <a:pt x="4718" y="250"/>
                </a:lnTo>
                <a:lnTo>
                  <a:pt x="4744" y="250"/>
                </a:lnTo>
                <a:lnTo>
                  <a:pt x="4744" y="244"/>
                </a:lnTo>
                <a:cubicBezTo>
                  <a:pt x="4745" y="213"/>
                  <a:pt x="4743" y="164"/>
                  <a:pt x="4740" y="137"/>
                </a:cubicBezTo>
                <a:cubicBezTo>
                  <a:pt x="4731" y="77"/>
                  <a:pt x="4701" y="47"/>
                  <a:pt x="4628" y="24"/>
                </a:cubicBezTo>
                <a:lnTo>
                  <a:pt x="4628" y="24"/>
                </a:lnTo>
                <a:cubicBezTo>
                  <a:pt x="4591" y="13"/>
                  <a:pt x="4532" y="5"/>
                  <a:pt x="4451" y="0"/>
                </a:cubicBezTo>
                <a:lnTo>
                  <a:pt x="4451" y="1"/>
                </a:lnTo>
                <a:lnTo>
                  <a:pt x="2159" y="1"/>
                </a:lnTo>
                <a:lnTo>
                  <a:pt x="0" y="1"/>
                </a:lnTo>
                <a:lnTo>
                  <a:pt x="0" y="130"/>
                </a:lnTo>
                <a:lnTo>
                  <a:pt x="2103" y="130"/>
                </a:lnTo>
                <a:close/>
              </a:path>
            </a:pathLst>
          </a:custGeom>
          <a:solidFill>
            <a:schemeClr val="bg1"/>
          </a:solidFill>
          <a:ln w="0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 Green">
    <p:bg bwMode="gray"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1280160"/>
            <a:ext cx="4114800" cy="1499616"/>
          </a:xfrm>
        </p:spPr>
        <p:txBody>
          <a:bodyPr anchor="b" anchorCtr="0">
            <a:noAutofit/>
          </a:bodyPr>
          <a:lstStyle>
            <a:lvl1pPr algn="l">
              <a:lnSpc>
                <a:spcPct val="90000"/>
              </a:lnSpc>
              <a:defRPr sz="5400" b="0" cap="none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Divider Tit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3291839"/>
            <a:ext cx="4114800" cy="1828800"/>
          </a:xfrm>
        </p:spPr>
        <p:txBody>
          <a:bodyPr anchor="t" anchorCtr="0">
            <a:noAutofit/>
          </a:bodyPr>
          <a:lstStyle>
            <a:lvl1pPr marL="0" indent="0">
              <a:lnSpc>
                <a:spcPct val="120000"/>
              </a:lnSpc>
              <a:spcBef>
                <a:spcPts val="600"/>
              </a:spcBef>
              <a:buNone/>
              <a:defRPr sz="2200">
                <a:solidFill>
                  <a:schemeClr val="bg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 vert="horz" wrap="square" lIns="0" tIns="0" rIns="0" bIns="0" rtlCol="0" anchor="ctr">
            <a:spAutoFit/>
          </a:bodyPr>
          <a:lstStyle>
            <a:lvl1pPr>
              <a:defRPr lang="en-US" smtClean="0"/>
            </a:lvl1pPr>
          </a:lstStyle>
          <a:p>
            <a:r>
              <a:rPr lang="en-US" smtClean="0"/>
              <a:t>COMPANY CONFIDENTIAL  |  FOR INTERNAL USE ONLY  |  DO NOT COPY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1A2DCB2D-F3A1-47AC-A248-15826C4C808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Freeform 17"/>
          <p:cNvSpPr>
            <a:spLocks/>
          </p:cNvSpPr>
          <p:nvPr/>
        </p:nvSpPr>
        <p:spPr bwMode="gray">
          <a:xfrm>
            <a:off x="0" y="2940758"/>
            <a:ext cx="4530725" cy="239713"/>
          </a:xfrm>
          <a:custGeom>
            <a:avLst/>
            <a:gdLst/>
            <a:ahLst/>
            <a:cxnLst>
              <a:cxn ang="0">
                <a:pos x="2103" y="130"/>
              </a:cxn>
              <a:cxn ang="0">
                <a:pos x="2103" y="130"/>
              </a:cxn>
              <a:cxn ang="0">
                <a:pos x="4451" y="130"/>
              </a:cxn>
              <a:cxn ang="0">
                <a:pos x="4615" y="151"/>
              </a:cxn>
              <a:cxn ang="0">
                <a:pos x="4619" y="152"/>
              </a:cxn>
              <a:cxn ang="0">
                <a:pos x="4718" y="244"/>
              </a:cxn>
              <a:cxn ang="0">
                <a:pos x="4718" y="250"/>
              </a:cxn>
              <a:cxn ang="0">
                <a:pos x="4744" y="250"/>
              </a:cxn>
              <a:cxn ang="0">
                <a:pos x="4744" y="244"/>
              </a:cxn>
              <a:cxn ang="0">
                <a:pos x="4740" y="137"/>
              </a:cxn>
              <a:cxn ang="0">
                <a:pos x="4628" y="24"/>
              </a:cxn>
              <a:cxn ang="0">
                <a:pos x="4628" y="24"/>
              </a:cxn>
              <a:cxn ang="0">
                <a:pos x="4451" y="0"/>
              </a:cxn>
              <a:cxn ang="0">
                <a:pos x="4451" y="1"/>
              </a:cxn>
              <a:cxn ang="0">
                <a:pos x="2159" y="1"/>
              </a:cxn>
              <a:cxn ang="0">
                <a:pos x="0" y="1"/>
              </a:cxn>
              <a:cxn ang="0">
                <a:pos x="0" y="130"/>
              </a:cxn>
              <a:cxn ang="0">
                <a:pos x="2103" y="130"/>
              </a:cxn>
            </a:cxnLst>
            <a:rect l="0" t="0" r="r" b="b"/>
            <a:pathLst>
              <a:path w="4745" h="250">
                <a:moveTo>
                  <a:pt x="2103" y="130"/>
                </a:moveTo>
                <a:lnTo>
                  <a:pt x="2103" y="130"/>
                </a:lnTo>
                <a:lnTo>
                  <a:pt x="4451" y="130"/>
                </a:lnTo>
                <a:cubicBezTo>
                  <a:pt x="4519" y="133"/>
                  <a:pt x="4578" y="140"/>
                  <a:pt x="4615" y="151"/>
                </a:cubicBezTo>
                <a:lnTo>
                  <a:pt x="4619" y="152"/>
                </a:lnTo>
                <a:cubicBezTo>
                  <a:pt x="4652" y="163"/>
                  <a:pt x="4720" y="186"/>
                  <a:pt x="4718" y="244"/>
                </a:cubicBezTo>
                <a:lnTo>
                  <a:pt x="4718" y="250"/>
                </a:lnTo>
                <a:lnTo>
                  <a:pt x="4744" y="250"/>
                </a:lnTo>
                <a:lnTo>
                  <a:pt x="4744" y="244"/>
                </a:lnTo>
                <a:cubicBezTo>
                  <a:pt x="4745" y="213"/>
                  <a:pt x="4743" y="164"/>
                  <a:pt x="4740" y="137"/>
                </a:cubicBezTo>
                <a:cubicBezTo>
                  <a:pt x="4731" y="77"/>
                  <a:pt x="4701" y="47"/>
                  <a:pt x="4628" y="24"/>
                </a:cubicBezTo>
                <a:lnTo>
                  <a:pt x="4628" y="24"/>
                </a:lnTo>
                <a:cubicBezTo>
                  <a:pt x="4591" y="13"/>
                  <a:pt x="4532" y="5"/>
                  <a:pt x="4451" y="0"/>
                </a:cubicBezTo>
                <a:lnTo>
                  <a:pt x="4451" y="1"/>
                </a:lnTo>
                <a:lnTo>
                  <a:pt x="2159" y="1"/>
                </a:lnTo>
                <a:lnTo>
                  <a:pt x="0" y="1"/>
                </a:lnTo>
                <a:lnTo>
                  <a:pt x="0" y="130"/>
                </a:lnTo>
                <a:lnTo>
                  <a:pt x="2103" y="130"/>
                </a:lnTo>
                <a:close/>
              </a:path>
            </a:pathLst>
          </a:custGeom>
          <a:solidFill>
            <a:schemeClr val="bg1"/>
          </a:solidFill>
          <a:ln w="0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Full Image 1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1095375"/>
            <a:ext cx="6217920" cy="1234440"/>
          </a:xfrm>
        </p:spPr>
        <p:txBody>
          <a:bodyPr vert="horz" lIns="0" tIns="45720" rIns="91440" bIns="45720" rtlCol="0" anchor="ctr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lang="en-US" sz="3600" b="0" i="0" kern="1200" dirty="0" smtClean="0">
                <a:solidFill>
                  <a:schemeClr val="accent1"/>
                </a:solidFill>
                <a:latin typeface="Georgia"/>
                <a:ea typeface="+mj-ea"/>
                <a:cs typeface="Georgia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57200" y="2604135"/>
            <a:ext cx="6126480" cy="457200"/>
          </a:xfrm>
        </p:spPr>
        <p:txBody>
          <a:bodyPr lIns="0">
            <a:noAutofit/>
          </a:bodyPr>
          <a:lstStyle>
            <a:lvl1pPr marL="0" indent="0" algn="l">
              <a:spcBef>
                <a:spcPts val="600"/>
              </a:spcBef>
              <a:buNone/>
              <a:defRPr sz="1800">
                <a:solidFill>
                  <a:schemeClr val="tx2">
                    <a:lumMod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>
          <a:xfrm>
            <a:off x="3581400" y="6567101"/>
            <a:ext cx="5105400" cy="138499"/>
          </a:xfrm>
        </p:spPr>
        <p:txBody>
          <a:bodyPr vert="horz" wrap="square" lIns="0" tIns="0" rIns="0" bIns="0" rtlCol="0" anchor="ctr">
            <a:spAutoFit/>
          </a:bodyPr>
          <a:lstStyle>
            <a:lvl1pPr>
              <a:defRPr lang="en-US" smtClean="0"/>
            </a:lvl1pPr>
          </a:lstStyle>
          <a:p>
            <a:r>
              <a:rPr lang="en-US" smtClean="0"/>
              <a:t>COMPANY CONFIDENTIAL  |  FOR INTERNAL USE ONLY  |  DO NOT COPY</a:t>
            </a:r>
            <a:endParaRPr lang="en-US" dirty="0"/>
          </a:p>
        </p:txBody>
      </p:sp>
      <p:sp>
        <p:nvSpPr>
          <p:cNvPr id="7" name="Freeform 9"/>
          <p:cNvSpPr>
            <a:spLocks/>
          </p:cNvSpPr>
          <p:nvPr/>
        </p:nvSpPr>
        <p:spPr bwMode="gray">
          <a:xfrm>
            <a:off x="476250" y="914400"/>
            <a:ext cx="6154738" cy="123825"/>
          </a:xfrm>
          <a:custGeom>
            <a:avLst/>
            <a:gdLst/>
            <a:ahLst/>
            <a:cxnLst>
              <a:cxn ang="0">
                <a:pos x="6456" y="79"/>
              </a:cxn>
              <a:cxn ang="0">
                <a:pos x="6456" y="79"/>
              </a:cxn>
              <a:cxn ang="0">
                <a:pos x="6422" y="44"/>
              </a:cxn>
              <a:cxn ang="0">
                <a:pos x="6422" y="44"/>
              </a:cxn>
              <a:cxn ang="0">
                <a:pos x="6366" y="36"/>
              </a:cxn>
              <a:cxn ang="0">
                <a:pos x="6366" y="37"/>
              </a:cxn>
              <a:cxn ang="0">
                <a:pos x="3247" y="37"/>
              </a:cxn>
              <a:cxn ang="0">
                <a:pos x="91" y="37"/>
              </a:cxn>
              <a:cxn ang="0">
                <a:pos x="40" y="30"/>
              </a:cxn>
              <a:cxn ang="0">
                <a:pos x="39" y="30"/>
              </a:cxn>
              <a:cxn ang="0">
                <a:pos x="8" y="1"/>
              </a:cxn>
              <a:cxn ang="0">
                <a:pos x="8" y="0"/>
              </a:cxn>
              <a:cxn ang="0">
                <a:pos x="0" y="0"/>
              </a:cxn>
              <a:cxn ang="0">
                <a:pos x="0" y="1"/>
              </a:cxn>
              <a:cxn ang="0">
                <a:pos x="1" y="34"/>
              </a:cxn>
              <a:cxn ang="0">
                <a:pos x="36" y="70"/>
              </a:cxn>
              <a:cxn ang="0">
                <a:pos x="36" y="70"/>
              </a:cxn>
              <a:cxn ang="0">
                <a:pos x="91" y="77"/>
              </a:cxn>
              <a:cxn ang="0">
                <a:pos x="91" y="77"/>
              </a:cxn>
              <a:cxn ang="0">
                <a:pos x="3180" y="77"/>
              </a:cxn>
              <a:cxn ang="0">
                <a:pos x="6366" y="77"/>
              </a:cxn>
              <a:cxn ang="0">
                <a:pos x="6417" y="83"/>
              </a:cxn>
              <a:cxn ang="0">
                <a:pos x="6419" y="84"/>
              </a:cxn>
              <a:cxn ang="0">
                <a:pos x="6450" y="113"/>
              </a:cxn>
              <a:cxn ang="0">
                <a:pos x="6450" y="114"/>
              </a:cxn>
              <a:cxn ang="0">
                <a:pos x="6458" y="114"/>
              </a:cxn>
              <a:cxn ang="0">
                <a:pos x="6458" y="113"/>
              </a:cxn>
              <a:cxn ang="0">
                <a:pos x="6456" y="79"/>
              </a:cxn>
            </a:cxnLst>
            <a:rect l="0" t="0" r="r" b="b"/>
            <a:pathLst>
              <a:path w="6458" h="114">
                <a:moveTo>
                  <a:pt x="6456" y="79"/>
                </a:moveTo>
                <a:lnTo>
                  <a:pt x="6456" y="79"/>
                </a:lnTo>
                <a:cubicBezTo>
                  <a:pt x="6454" y="60"/>
                  <a:pt x="6444" y="51"/>
                  <a:pt x="6422" y="44"/>
                </a:cubicBezTo>
                <a:lnTo>
                  <a:pt x="6422" y="44"/>
                </a:lnTo>
                <a:cubicBezTo>
                  <a:pt x="6410" y="40"/>
                  <a:pt x="6391" y="38"/>
                  <a:pt x="6366" y="36"/>
                </a:cubicBezTo>
                <a:lnTo>
                  <a:pt x="6366" y="37"/>
                </a:lnTo>
                <a:lnTo>
                  <a:pt x="3247" y="37"/>
                </a:lnTo>
                <a:lnTo>
                  <a:pt x="91" y="37"/>
                </a:lnTo>
                <a:cubicBezTo>
                  <a:pt x="70" y="35"/>
                  <a:pt x="51" y="33"/>
                  <a:pt x="40" y="30"/>
                </a:cubicBezTo>
                <a:lnTo>
                  <a:pt x="39" y="30"/>
                </a:lnTo>
                <a:cubicBezTo>
                  <a:pt x="28" y="26"/>
                  <a:pt x="7" y="19"/>
                  <a:pt x="8" y="1"/>
                </a:cubicBezTo>
                <a:lnTo>
                  <a:pt x="8" y="0"/>
                </a:lnTo>
                <a:lnTo>
                  <a:pt x="0" y="0"/>
                </a:lnTo>
                <a:lnTo>
                  <a:pt x="0" y="1"/>
                </a:lnTo>
                <a:cubicBezTo>
                  <a:pt x="0" y="11"/>
                  <a:pt x="0" y="26"/>
                  <a:pt x="1" y="34"/>
                </a:cubicBezTo>
                <a:cubicBezTo>
                  <a:pt x="4" y="53"/>
                  <a:pt x="13" y="63"/>
                  <a:pt x="36" y="70"/>
                </a:cubicBezTo>
                <a:lnTo>
                  <a:pt x="36" y="70"/>
                </a:lnTo>
                <a:cubicBezTo>
                  <a:pt x="47" y="73"/>
                  <a:pt x="66" y="75"/>
                  <a:pt x="91" y="77"/>
                </a:cubicBezTo>
                <a:lnTo>
                  <a:pt x="91" y="77"/>
                </a:lnTo>
                <a:lnTo>
                  <a:pt x="3180" y="77"/>
                </a:lnTo>
                <a:lnTo>
                  <a:pt x="6366" y="77"/>
                </a:lnTo>
                <a:cubicBezTo>
                  <a:pt x="6388" y="78"/>
                  <a:pt x="6406" y="80"/>
                  <a:pt x="6417" y="83"/>
                </a:cubicBezTo>
                <a:lnTo>
                  <a:pt x="6419" y="84"/>
                </a:lnTo>
                <a:cubicBezTo>
                  <a:pt x="6429" y="87"/>
                  <a:pt x="6450" y="94"/>
                  <a:pt x="6450" y="113"/>
                </a:cubicBezTo>
                <a:lnTo>
                  <a:pt x="6450" y="114"/>
                </a:lnTo>
                <a:lnTo>
                  <a:pt x="6458" y="114"/>
                </a:lnTo>
                <a:lnTo>
                  <a:pt x="6458" y="113"/>
                </a:lnTo>
                <a:cubicBezTo>
                  <a:pt x="6458" y="103"/>
                  <a:pt x="6457" y="87"/>
                  <a:pt x="6456" y="79"/>
                </a:cubicBezTo>
                <a:close/>
              </a:path>
            </a:pathLst>
          </a:custGeom>
          <a:solidFill>
            <a:schemeClr val="bg1">
              <a:lumMod val="65000"/>
            </a:schemeClr>
          </a:solidFill>
          <a:ln w="12700">
            <a:solidFill>
              <a:schemeClr val="bg1">
                <a:lumMod val="65000"/>
              </a:schemeClr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8" name="Freeform 9"/>
          <p:cNvSpPr>
            <a:spLocks/>
          </p:cNvSpPr>
          <p:nvPr/>
        </p:nvSpPr>
        <p:spPr bwMode="gray">
          <a:xfrm>
            <a:off x="476250" y="2419350"/>
            <a:ext cx="6154738" cy="123825"/>
          </a:xfrm>
          <a:custGeom>
            <a:avLst/>
            <a:gdLst/>
            <a:ahLst/>
            <a:cxnLst>
              <a:cxn ang="0">
                <a:pos x="6456" y="79"/>
              </a:cxn>
              <a:cxn ang="0">
                <a:pos x="6456" y="79"/>
              </a:cxn>
              <a:cxn ang="0">
                <a:pos x="6422" y="44"/>
              </a:cxn>
              <a:cxn ang="0">
                <a:pos x="6422" y="44"/>
              </a:cxn>
              <a:cxn ang="0">
                <a:pos x="6366" y="36"/>
              </a:cxn>
              <a:cxn ang="0">
                <a:pos x="6366" y="37"/>
              </a:cxn>
              <a:cxn ang="0">
                <a:pos x="3247" y="37"/>
              </a:cxn>
              <a:cxn ang="0">
                <a:pos x="91" y="37"/>
              </a:cxn>
              <a:cxn ang="0">
                <a:pos x="40" y="30"/>
              </a:cxn>
              <a:cxn ang="0">
                <a:pos x="39" y="30"/>
              </a:cxn>
              <a:cxn ang="0">
                <a:pos x="8" y="1"/>
              </a:cxn>
              <a:cxn ang="0">
                <a:pos x="8" y="0"/>
              </a:cxn>
              <a:cxn ang="0">
                <a:pos x="0" y="0"/>
              </a:cxn>
              <a:cxn ang="0">
                <a:pos x="0" y="1"/>
              </a:cxn>
              <a:cxn ang="0">
                <a:pos x="1" y="34"/>
              </a:cxn>
              <a:cxn ang="0">
                <a:pos x="36" y="70"/>
              </a:cxn>
              <a:cxn ang="0">
                <a:pos x="36" y="70"/>
              </a:cxn>
              <a:cxn ang="0">
                <a:pos x="91" y="77"/>
              </a:cxn>
              <a:cxn ang="0">
                <a:pos x="91" y="77"/>
              </a:cxn>
              <a:cxn ang="0">
                <a:pos x="3180" y="77"/>
              </a:cxn>
              <a:cxn ang="0">
                <a:pos x="6366" y="77"/>
              </a:cxn>
              <a:cxn ang="0">
                <a:pos x="6417" y="83"/>
              </a:cxn>
              <a:cxn ang="0">
                <a:pos x="6419" y="84"/>
              </a:cxn>
              <a:cxn ang="0">
                <a:pos x="6450" y="113"/>
              </a:cxn>
              <a:cxn ang="0">
                <a:pos x="6450" y="114"/>
              </a:cxn>
              <a:cxn ang="0">
                <a:pos x="6458" y="114"/>
              </a:cxn>
              <a:cxn ang="0">
                <a:pos x="6458" y="113"/>
              </a:cxn>
              <a:cxn ang="0">
                <a:pos x="6456" y="79"/>
              </a:cxn>
            </a:cxnLst>
            <a:rect l="0" t="0" r="r" b="b"/>
            <a:pathLst>
              <a:path w="6458" h="114">
                <a:moveTo>
                  <a:pt x="6456" y="79"/>
                </a:moveTo>
                <a:lnTo>
                  <a:pt x="6456" y="79"/>
                </a:lnTo>
                <a:cubicBezTo>
                  <a:pt x="6454" y="60"/>
                  <a:pt x="6444" y="51"/>
                  <a:pt x="6422" y="44"/>
                </a:cubicBezTo>
                <a:lnTo>
                  <a:pt x="6422" y="44"/>
                </a:lnTo>
                <a:cubicBezTo>
                  <a:pt x="6410" y="40"/>
                  <a:pt x="6391" y="38"/>
                  <a:pt x="6366" y="36"/>
                </a:cubicBezTo>
                <a:lnTo>
                  <a:pt x="6366" y="37"/>
                </a:lnTo>
                <a:lnTo>
                  <a:pt x="3247" y="37"/>
                </a:lnTo>
                <a:lnTo>
                  <a:pt x="91" y="37"/>
                </a:lnTo>
                <a:cubicBezTo>
                  <a:pt x="70" y="35"/>
                  <a:pt x="51" y="33"/>
                  <a:pt x="40" y="30"/>
                </a:cubicBezTo>
                <a:lnTo>
                  <a:pt x="39" y="30"/>
                </a:lnTo>
                <a:cubicBezTo>
                  <a:pt x="28" y="26"/>
                  <a:pt x="7" y="19"/>
                  <a:pt x="8" y="1"/>
                </a:cubicBezTo>
                <a:lnTo>
                  <a:pt x="8" y="0"/>
                </a:lnTo>
                <a:lnTo>
                  <a:pt x="0" y="0"/>
                </a:lnTo>
                <a:lnTo>
                  <a:pt x="0" y="1"/>
                </a:lnTo>
                <a:cubicBezTo>
                  <a:pt x="0" y="11"/>
                  <a:pt x="0" y="26"/>
                  <a:pt x="1" y="34"/>
                </a:cubicBezTo>
                <a:cubicBezTo>
                  <a:pt x="4" y="53"/>
                  <a:pt x="13" y="63"/>
                  <a:pt x="36" y="70"/>
                </a:cubicBezTo>
                <a:lnTo>
                  <a:pt x="36" y="70"/>
                </a:lnTo>
                <a:cubicBezTo>
                  <a:pt x="47" y="73"/>
                  <a:pt x="66" y="75"/>
                  <a:pt x="91" y="77"/>
                </a:cubicBezTo>
                <a:lnTo>
                  <a:pt x="91" y="77"/>
                </a:lnTo>
                <a:lnTo>
                  <a:pt x="3180" y="77"/>
                </a:lnTo>
                <a:lnTo>
                  <a:pt x="6366" y="77"/>
                </a:lnTo>
                <a:cubicBezTo>
                  <a:pt x="6388" y="78"/>
                  <a:pt x="6406" y="80"/>
                  <a:pt x="6417" y="83"/>
                </a:cubicBezTo>
                <a:lnTo>
                  <a:pt x="6419" y="84"/>
                </a:lnTo>
                <a:cubicBezTo>
                  <a:pt x="6429" y="87"/>
                  <a:pt x="6450" y="94"/>
                  <a:pt x="6450" y="113"/>
                </a:cubicBezTo>
                <a:lnTo>
                  <a:pt x="6450" y="114"/>
                </a:lnTo>
                <a:lnTo>
                  <a:pt x="6458" y="114"/>
                </a:lnTo>
                <a:lnTo>
                  <a:pt x="6458" y="113"/>
                </a:lnTo>
                <a:cubicBezTo>
                  <a:pt x="6458" y="103"/>
                  <a:pt x="6457" y="87"/>
                  <a:pt x="6456" y="79"/>
                </a:cubicBezTo>
                <a:close/>
              </a:path>
            </a:pathLst>
          </a:custGeom>
          <a:solidFill>
            <a:schemeClr val="bg1">
              <a:lumMod val="65000"/>
            </a:schemeClr>
          </a:solidFill>
          <a:ln w="12700">
            <a:solidFill>
              <a:schemeClr val="bg1">
                <a:lumMod val="65000"/>
              </a:schemeClr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6250" y="338508"/>
            <a:ext cx="1511719" cy="41148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 Sand">
    <p:bg bwMode="gray">
      <p:bgPr>
        <a:solidFill>
          <a:srgbClr val="BA9D8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1280160"/>
            <a:ext cx="4114800" cy="1499616"/>
          </a:xfrm>
        </p:spPr>
        <p:txBody>
          <a:bodyPr anchor="b" anchorCtr="0">
            <a:noAutofit/>
          </a:bodyPr>
          <a:lstStyle>
            <a:lvl1pPr algn="l">
              <a:lnSpc>
                <a:spcPct val="90000"/>
              </a:lnSpc>
              <a:defRPr sz="5400" b="0" cap="none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Divider Tit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3291839"/>
            <a:ext cx="4114800" cy="1828800"/>
          </a:xfrm>
        </p:spPr>
        <p:txBody>
          <a:bodyPr anchor="t" anchorCtr="0">
            <a:noAutofit/>
          </a:bodyPr>
          <a:lstStyle>
            <a:lvl1pPr marL="0" indent="0">
              <a:lnSpc>
                <a:spcPct val="120000"/>
              </a:lnSpc>
              <a:spcBef>
                <a:spcPts val="600"/>
              </a:spcBef>
              <a:buNone/>
              <a:defRPr sz="2200">
                <a:solidFill>
                  <a:schemeClr val="bg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 vert="horz" wrap="square" lIns="0" tIns="0" rIns="0" bIns="0" rtlCol="0" anchor="ctr">
            <a:spAutoFit/>
          </a:bodyPr>
          <a:lstStyle>
            <a:lvl1pPr>
              <a:defRPr lang="en-US" smtClean="0"/>
            </a:lvl1pPr>
          </a:lstStyle>
          <a:p>
            <a:r>
              <a:rPr lang="en-US" smtClean="0"/>
              <a:t>COMPANY CONFIDENTIAL  |  FOR INTERNAL USE ONLY  |  DO NOT COPY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1A2DCB2D-F3A1-47AC-A248-15826C4C808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Freeform 17"/>
          <p:cNvSpPr>
            <a:spLocks/>
          </p:cNvSpPr>
          <p:nvPr/>
        </p:nvSpPr>
        <p:spPr bwMode="gray">
          <a:xfrm>
            <a:off x="0" y="2940758"/>
            <a:ext cx="4530725" cy="239713"/>
          </a:xfrm>
          <a:custGeom>
            <a:avLst/>
            <a:gdLst/>
            <a:ahLst/>
            <a:cxnLst>
              <a:cxn ang="0">
                <a:pos x="2103" y="130"/>
              </a:cxn>
              <a:cxn ang="0">
                <a:pos x="2103" y="130"/>
              </a:cxn>
              <a:cxn ang="0">
                <a:pos x="4451" y="130"/>
              </a:cxn>
              <a:cxn ang="0">
                <a:pos x="4615" y="151"/>
              </a:cxn>
              <a:cxn ang="0">
                <a:pos x="4619" y="152"/>
              </a:cxn>
              <a:cxn ang="0">
                <a:pos x="4718" y="244"/>
              </a:cxn>
              <a:cxn ang="0">
                <a:pos x="4718" y="250"/>
              </a:cxn>
              <a:cxn ang="0">
                <a:pos x="4744" y="250"/>
              </a:cxn>
              <a:cxn ang="0">
                <a:pos x="4744" y="244"/>
              </a:cxn>
              <a:cxn ang="0">
                <a:pos x="4740" y="137"/>
              </a:cxn>
              <a:cxn ang="0">
                <a:pos x="4628" y="24"/>
              </a:cxn>
              <a:cxn ang="0">
                <a:pos x="4628" y="24"/>
              </a:cxn>
              <a:cxn ang="0">
                <a:pos x="4451" y="0"/>
              </a:cxn>
              <a:cxn ang="0">
                <a:pos x="4451" y="1"/>
              </a:cxn>
              <a:cxn ang="0">
                <a:pos x="2159" y="1"/>
              </a:cxn>
              <a:cxn ang="0">
                <a:pos x="0" y="1"/>
              </a:cxn>
              <a:cxn ang="0">
                <a:pos x="0" y="130"/>
              </a:cxn>
              <a:cxn ang="0">
                <a:pos x="2103" y="130"/>
              </a:cxn>
            </a:cxnLst>
            <a:rect l="0" t="0" r="r" b="b"/>
            <a:pathLst>
              <a:path w="4745" h="250">
                <a:moveTo>
                  <a:pt x="2103" y="130"/>
                </a:moveTo>
                <a:lnTo>
                  <a:pt x="2103" y="130"/>
                </a:lnTo>
                <a:lnTo>
                  <a:pt x="4451" y="130"/>
                </a:lnTo>
                <a:cubicBezTo>
                  <a:pt x="4519" y="133"/>
                  <a:pt x="4578" y="140"/>
                  <a:pt x="4615" y="151"/>
                </a:cubicBezTo>
                <a:lnTo>
                  <a:pt x="4619" y="152"/>
                </a:lnTo>
                <a:cubicBezTo>
                  <a:pt x="4652" y="163"/>
                  <a:pt x="4720" y="186"/>
                  <a:pt x="4718" y="244"/>
                </a:cubicBezTo>
                <a:lnTo>
                  <a:pt x="4718" y="250"/>
                </a:lnTo>
                <a:lnTo>
                  <a:pt x="4744" y="250"/>
                </a:lnTo>
                <a:lnTo>
                  <a:pt x="4744" y="244"/>
                </a:lnTo>
                <a:cubicBezTo>
                  <a:pt x="4745" y="213"/>
                  <a:pt x="4743" y="164"/>
                  <a:pt x="4740" y="137"/>
                </a:cubicBezTo>
                <a:cubicBezTo>
                  <a:pt x="4731" y="77"/>
                  <a:pt x="4701" y="47"/>
                  <a:pt x="4628" y="24"/>
                </a:cubicBezTo>
                <a:lnTo>
                  <a:pt x="4628" y="24"/>
                </a:lnTo>
                <a:cubicBezTo>
                  <a:pt x="4591" y="13"/>
                  <a:pt x="4532" y="5"/>
                  <a:pt x="4451" y="0"/>
                </a:cubicBezTo>
                <a:lnTo>
                  <a:pt x="4451" y="1"/>
                </a:lnTo>
                <a:lnTo>
                  <a:pt x="2159" y="1"/>
                </a:lnTo>
                <a:lnTo>
                  <a:pt x="0" y="1"/>
                </a:lnTo>
                <a:lnTo>
                  <a:pt x="0" y="130"/>
                </a:lnTo>
                <a:lnTo>
                  <a:pt x="2103" y="130"/>
                </a:lnTo>
                <a:close/>
              </a:path>
            </a:pathLst>
          </a:custGeom>
          <a:solidFill>
            <a:schemeClr val="bg1"/>
          </a:solidFill>
          <a:ln w="0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 Aqua">
    <p:bg bwMode="gray">
      <p:bgPr>
        <a:solidFill>
          <a:srgbClr val="5D967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1280160"/>
            <a:ext cx="4114800" cy="1499616"/>
          </a:xfrm>
        </p:spPr>
        <p:txBody>
          <a:bodyPr anchor="b" anchorCtr="0">
            <a:noAutofit/>
          </a:bodyPr>
          <a:lstStyle>
            <a:lvl1pPr algn="l">
              <a:lnSpc>
                <a:spcPct val="90000"/>
              </a:lnSpc>
              <a:defRPr sz="5400" b="0" cap="none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Divider Tit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3291839"/>
            <a:ext cx="4114800" cy="1828800"/>
          </a:xfrm>
        </p:spPr>
        <p:txBody>
          <a:bodyPr anchor="t" anchorCtr="0">
            <a:noAutofit/>
          </a:bodyPr>
          <a:lstStyle>
            <a:lvl1pPr marL="0" indent="0">
              <a:lnSpc>
                <a:spcPct val="120000"/>
              </a:lnSpc>
              <a:spcBef>
                <a:spcPts val="600"/>
              </a:spcBef>
              <a:buNone/>
              <a:defRPr sz="2200">
                <a:solidFill>
                  <a:schemeClr val="bg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 vert="horz" wrap="square" lIns="0" tIns="0" rIns="0" bIns="0" rtlCol="0" anchor="ctr">
            <a:spAutoFit/>
          </a:bodyPr>
          <a:lstStyle>
            <a:lvl1pPr>
              <a:defRPr lang="en-US" smtClean="0"/>
            </a:lvl1pPr>
          </a:lstStyle>
          <a:p>
            <a:r>
              <a:rPr lang="en-US" smtClean="0"/>
              <a:t>COMPANY CONFIDENTIAL  |  FOR INTERNAL USE ONLY  |  DO NOT COPY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1A2DCB2D-F3A1-47AC-A248-15826C4C808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Freeform 17"/>
          <p:cNvSpPr>
            <a:spLocks/>
          </p:cNvSpPr>
          <p:nvPr/>
        </p:nvSpPr>
        <p:spPr bwMode="gray">
          <a:xfrm>
            <a:off x="0" y="2940758"/>
            <a:ext cx="4530725" cy="239713"/>
          </a:xfrm>
          <a:custGeom>
            <a:avLst/>
            <a:gdLst/>
            <a:ahLst/>
            <a:cxnLst>
              <a:cxn ang="0">
                <a:pos x="2103" y="130"/>
              </a:cxn>
              <a:cxn ang="0">
                <a:pos x="2103" y="130"/>
              </a:cxn>
              <a:cxn ang="0">
                <a:pos x="4451" y="130"/>
              </a:cxn>
              <a:cxn ang="0">
                <a:pos x="4615" y="151"/>
              </a:cxn>
              <a:cxn ang="0">
                <a:pos x="4619" y="152"/>
              </a:cxn>
              <a:cxn ang="0">
                <a:pos x="4718" y="244"/>
              </a:cxn>
              <a:cxn ang="0">
                <a:pos x="4718" y="250"/>
              </a:cxn>
              <a:cxn ang="0">
                <a:pos x="4744" y="250"/>
              </a:cxn>
              <a:cxn ang="0">
                <a:pos x="4744" y="244"/>
              </a:cxn>
              <a:cxn ang="0">
                <a:pos x="4740" y="137"/>
              </a:cxn>
              <a:cxn ang="0">
                <a:pos x="4628" y="24"/>
              </a:cxn>
              <a:cxn ang="0">
                <a:pos x="4628" y="24"/>
              </a:cxn>
              <a:cxn ang="0">
                <a:pos x="4451" y="0"/>
              </a:cxn>
              <a:cxn ang="0">
                <a:pos x="4451" y="1"/>
              </a:cxn>
              <a:cxn ang="0">
                <a:pos x="2159" y="1"/>
              </a:cxn>
              <a:cxn ang="0">
                <a:pos x="0" y="1"/>
              </a:cxn>
              <a:cxn ang="0">
                <a:pos x="0" y="130"/>
              </a:cxn>
              <a:cxn ang="0">
                <a:pos x="2103" y="130"/>
              </a:cxn>
            </a:cxnLst>
            <a:rect l="0" t="0" r="r" b="b"/>
            <a:pathLst>
              <a:path w="4745" h="250">
                <a:moveTo>
                  <a:pt x="2103" y="130"/>
                </a:moveTo>
                <a:lnTo>
                  <a:pt x="2103" y="130"/>
                </a:lnTo>
                <a:lnTo>
                  <a:pt x="4451" y="130"/>
                </a:lnTo>
                <a:cubicBezTo>
                  <a:pt x="4519" y="133"/>
                  <a:pt x="4578" y="140"/>
                  <a:pt x="4615" y="151"/>
                </a:cubicBezTo>
                <a:lnTo>
                  <a:pt x="4619" y="152"/>
                </a:lnTo>
                <a:cubicBezTo>
                  <a:pt x="4652" y="163"/>
                  <a:pt x="4720" y="186"/>
                  <a:pt x="4718" y="244"/>
                </a:cubicBezTo>
                <a:lnTo>
                  <a:pt x="4718" y="250"/>
                </a:lnTo>
                <a:lnTo>
                  <a:pt x="4744" y="250"/>
                </a:lnTo>
                <a:lnTo>
                  <a:pt x="4744" y="244"/>
                </a:lnTo>
                <a:cubicBezTo>
                  <a:pt x="4745" y="213"/>
                  <a:pt x="4743" y="164"/>
                  <a:pt x="4740" y="137"/>
                </a:cubicBezTo>
                <a:cubicBezTo>
                  <a:pt x="4731" y="77"/>
                  <a:pt x="4701" y="47"/>
                  <a:pt x="4628" y="24"/>
                </a:cubicBezTo>
                <a:lnTo>
                  <a:pt x="4628" y="24"/>
                </a:lnTo>
                <a:cubicBezTo>
                  <a:pt x="4591" y="13"/>
                  <a:pt x="4532" y="5"/>
                  <a:pt x="4451" y="0"/>
                </a:cubicBezTo>
                <a:lnTo>
                  <a:pt x="4451" y="1"/>
                </a:lnTo>
                <a:lnTo>
                  <a:pt x="2159" y="1"/>
                </a:lnTo>
                <a:lnTo>
                  <a:pt x="0" y="1"/>
                </a:lnTo>
                <a:lnTo>
                  <a:pt x="0" y="130"/>
                </a:lnTo>
                <a:lnTo>
                  <a:pt x="2103" y="130"/>
                </a:lnTo>
                <a:close/>
              </a:path>
            </a:pathLst>
          </a:custGeom>
          <a:solidFill>
            <a:schemeClr val="bg1"/>
          </a:solidFill>
          <a:ln w="0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 Purple">
    <p:bg bwMode="gray">
      <p:bgPr>
        <a:solidFill>
          <a:srgbClr val="815E9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1280160"/>
            <a:ext cx="4114800" cy="1499616"/>
          </a:xfrm>
          <a:noFill/>
        </p:spPr>
        <p:txBody>
          <a:bodyPr anchor="b" anchorCtr="0">
            <a:noAutofit/>
          </a:bodyPr>
          <a:lstStyle>
            <a:lvl1pPr algn="l">
              <a:lnSpc>
                <a:spcPct val="90000"/>
              </a:lnSpc>
              <a:defRPr sz="5400" b="0" cap="none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Divider Tit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3291839"/>
            <a:ext cx="4114800" cy="1828800"/>
          </a:xfrm>
          <a:noFill/>
        </p:spPr>
        <p:txBody>
          <a:bodyPr anchor="t" anchorCtr="0">
            <a:noAutofit/>
          </a:bodyPr>
          <a:lstStyle>
            <a:lvl1pPr marL="0" indent="0">
              <a:lnSpc>
                <a:spcPct val="120000"/>
              </a:lnSpc>
              <a:spcBef>
                <a:spcPts val="600"/>
              </a:spcBef>
              <a:buNone/>
              <a:defRPr sz="2200">
                <a:solidFill>
                  <a:schemeClr val="bg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 vert="horz" wrap="square" lIns="0" tIns="0" rIns="0" bIns="0" rtlCol="0" anchor="ctr">
            <a:spAutoFit/>
          </a:bodyPr>
          <a:lstStyle>
            <a:lvl1pPr>
              <a:defRPr lang="en-US" smtClean="0"/>
            </a:lvl1pPr>
          </a:lstStyle>
          <a:p>
            <a:r>
              <a:rPr lang="en-US" smtClean="0"/>
              <a:t>COMPANY CONFIDENTIAL  |  FOR INTERNAL USE ONLY  |  DO NOT COPY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1A2DCB2D-F3A1-47AC-A248-15826C4C808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Freeform 17"/>
          <p:cNvSpPr>
            <a:spLocks/>
          </p:cNvSpPr>
          <p:nvPr/>
        </p:nvSpPr>
        <p:spPr bwMode="gray">
          <a:xfrm>
            <a:off x="0" y="2940758"/>
            <a:ext cx="4530725" cy="239713"/>
          </a:xfrm>
          <a:custGeom>
            <a:avLst/>
            <a:gdLst/>
            <a:ahLst/>
            <a:cxnLst>
              <a:cxn ang="0">
                <a:pos x="2103" y="130"/>
              </a:cxn>
              <a:cxn ang="0">
                <a:pos x="2103" y="130"/>
              </a:cxn>
              <a:cxn ang="0">
                <a:pos x="4451" y="130"/>
              </a:cxn>
              <a:cxn ang="0">
                <a:pos x="4615" y="151"/>
              </a:cxn>
              <a:cxn ang="0">
                <a:pos x="4619" y="152"/>
              </a:cxn>
              <a:cxn ang="0">
                <a:pos x="4718" y="244"/>
              </a:cxn>
              <a:cxn ang="0">
                <a:pos x="4718" y="250"/>
              </a:cxn>
              <a:cxn ang="0">
                <a:pos x="4744" y="250"/>
              </a:cxn>
              <a:cxn ang="0">
                <a:pos x="4744" y="244"/>
              </a:cxn>
              <a:cxn ang="0">
                <a:pos x="4740" y="137"/>
              </a:cxn>
              <a:cxn ang="0">
                <a:pos x="4628" y="24"/>
              </a:cxn>
              <a:cxn ang="0">
                <a:pos x="4628" y="24"/>
              </a:cxn>
              <a:cxn ang="0">
                <a:pos x="4451" y="0"/>
              </a:cxn>
              <a:cxn ang="0">
                <a:pos x="4451" y="1"/>
              </a:cxn>
              <a:cxn ang="0">
                <a:pos x="2159" y="1"/>
              </a:cxn>
              <a:cxn ang="0">
                <a:pos x="0" y="1"/>
              </a:cxn>
              <a:cxn ang="0">
                <a:pos x="0" y="130"/>
              </a:cxn>
              <a:cxn ang="0">
                <a:pos x="2103" y="130"/>
              </a:cxn>
            </a:cxnLst>
            <a:rect l="0" t="0" r="r" b="b"/>
            <a:pathLst>
              <a:path w="4745" h="250">
                <a:moveTo>
                  <a:pt x="2103" y="130"/>
                </a:moveTo>
                <a:lnTo>
                  <a:pt x="2103" y="130"/>
                </a:lnTo>
                <a:lnTo>
                  <a:pt x="4451" y="130"/>
                </a:lnTo>
                <a:cubicBezTo>
                  <a:pt x="4519" y="133"/>
                  <a:pt x="4578" y="140"/>
                  <a:pt x="4615" y="151"/>
                </a:cubicBezTo>
                <a:lnTo>
                  <a:pt x="4619" y="152"/>
                </a:lnTo>
                <a:cubicBezTo>
                  <a:pt x="4652" y="163"/>
                  <a:pt x="4720" y="186"/>
                  <a:pt x="4718" y="244"/>
                </a:cubicBezTo>
                <a:lnTo>
                  <a:pt x="4718" y="250"/>
                </a:lnTo>
                <a:lnTo>
                  <a:pt x="4744" y="250"/>
                </a:lnTo>
                <a:lnTo>
                  <a:pt x="4744" y="244"/>
                </a:lnTo>
                <a:cubicBezTo>
                  <a:pt x="4745" y="213"/>
                  <a:pt x="4743" y="164"/>
                  <a:pt x="4740" y="137"/>
                </a:cubicBezTo>
                <a:cubicBezTo>
                  <a:pt x="4731" y="77"/>
                  <a:pt x="4701" y="47"/>
                  <a:pt x="4628" y="24"/>
                </a:cubicBezTo>
                <a:lnTo>
                  <a:pt x="4628" y="24"/>
                </a:lnTo>
                <a:cubicBezTo>
                  <a:pt x="4591" y="13"/>
                  <a:pt x="4532" y="5"/>
                  <a:pt x="4451" y="0"/>
                </a:cubicBezTo>
                <a:lnTo>
                  <a:pt x="4451" y="1"/>
                </a:lnTo>
                <a:lnTo>
                  <a:pt x="2159" y="1"/>
                </a:lnTo>
                <a:lnTo>
                  <a:pt x="0" y="1"/>
                </a:lnTo>
                <a:lnTo>
                  <a:pt x="0" y="130"/>
                </a:lnTo>
                <a:lnTo>
                  <a:pt x="2103" y="130"/>
                </a:lnTo>
                <a:close/>
              </a:path>
            </a:pathLst>
          </a:custGeom>
          <a:solidFill>
            <a:schemeClr val="bg1"/>
          </a:solidFill>
          <a:ln w="0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ALT Section Header Dark Blue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1280160"/>
            <a:ext cx="8229600" cy="1499616"/>
          </a:xfrm>
        </p:spPr>
        <p:txBody>
          <a:bodyPr anchor="b" anchorCtr="0">
            <a:noAutofit/>
          </a:bodyPr>
          <a:lstStyle>
            <a:lvl1pPr algn="l">
              <a:lnSpc>
                <a:spcPct val="90000"/>
              </a:lnSpc>
              <a:defRPr sz="5400" b="0" cap="none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Divider Tit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3291839"/>
            <a:ext cx="5486400" cy="1828800"/>
          </a:xfrm>
        </p:spPr>
        <p:txBody>
          <a:bodyPr anchor="t" anchorCtr="0">
            <a:noAutofit/>
          </a:bodyPr>
          <a:lstStyle>
            <a:lvl1pPr marL="0" indent="0">
              <a:lnSpc>
                <a:spcPct val="120000"/>
              </a:lnSpc>
              <a:spcBef>
                <a:spcPts val="600"/>
              </a:spcBef>
              <a:buNone/>
              <a:defRPr sz="2200">
                <a:solidFill>
                  <a:schemeClr val="bg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 vert="horz" wrap="square" lIns="0" tIns="0" rIns="0" bIns="0" rtlCol="0" anchor="ctr">
            <a:spAutoFit/>
          </a:bodyPr>
          <a:lstStyle>
            <a:lvl1pPr>
              <a:defRPr lang="en-US" smtClean="0"/>
            </a:lvl1pPr>
          </a:lstStyle>
          <a:p>
            <a:r>
              <a:rPr lang="en-US" smtClean="0"/>
              <a:t>COMPANY CONFIDENTIAL  |  FOR INTERNAL USE ONLY  |  DO NOT COPY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1A2DCB2D-F3A1-47AC-A248-15826C4C808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Freeform 5"/>
          <p:cNvSpPr>
            <a:spLocks/>
          </p:cNvSpPr>
          <p:nvPr/>
        </p:nvSpPr>
        <p:spPr bwMode="gray">
          <a:xfrm>
            <a:off x="451644" y="2942319"/>
            <a:ext cx="8240713" cy="123825"/>
          </a:xfrm>
          <a:custGeom>
            <a:avLst/>
            <a:gdLst/>
            <a:ahLst/>
            <a:cxnLst>
              <a:cxn ang="0">
                <a:pos x="8638" y="79"/>
              </a:cxn>
              <a:cxn ang="0">
                <a:pos x="8638" y="79"/>
              </a:cxn>
              <a:cxn ang="0">
                <a:pos x="8604" y="44"/>
              </a:cxn>
              <a:cxn ang="0">
                <a:pos x="8604" y="44"/>
              </a:cxn>
              <a:cxn ang="0">
                <a:pos x="8548" y="36"/>
              </a:cxn>
              <a:cxn ang="0">
                <a:pos x="8548" y="37"/>
              </a:cxn>
              <a:cxn ang="0">
                <a:pos x="91" y="37"/>
              </a:cxn>
              <a:cxn ang="0">
                <a:pos x="40" y="30"/>
              </a:cxn>
              <a:cxn ang="0">
                <a:pos x="39" y="30"/>
              </a:cxn>
              <a:cxn ang="0">
                <a:pos x="8" y="1"/>
              </a:cxn>
              <a:cxn ang="0">
                <a:pos x="8" y="0"/>
              </a:cxn>
              <a:cxn ang="0">
                <a:pos x="0" y="0"/>
              </a:cxn>
              <a:cxn ang="0">
                <a:pos x="0" y="1"/>
              </a:cxn>
              <a:cxn ang="0">
                <a:pos x="1" y="34"/>
              </a:cxn>
              <a:cxn ang="0">
                <a:pos x="36" y="70"/>
              </a:cxn>
              <a:cxn ang="0">
                <a:pos x="36" y="70"/>
              </a:cxn>
              <a:cxn ang="0">
                <a:pos x="91" y="77"/>
              </a:cxn>
              <a:cxn ang="0">
                <a:pos x="91" y="77"/>
              </a:cxn>
              <a:cxn ang="0">
                <a:pos x="8548" y="77"/>
              </a:cxn>
              <a:cxn ang="0">
                <a:pos x="8599" y="83"/>
              </a:cxn>
              <a:cxn ang="0">
                <a:pos x="8601" y="84"/>
              </a:cxn>
              <a:cxn ang="0">
                <a:pos x="8632" y="113"/>
              </a:cxn>
              <a:cxn ang="0">
                <a:pos x="8632" y="114"/>
              </a:cxn>
              <a:cxn ang="0">
                <a:pos x="8640" y="114"/>
              </a:cxn>
              <a:cxn ang="0">
                <a:pos x="8640" y="113"/>
              </a:cxn>
              <a:cxn ang="0">
                <a:pos x="8638" y="79"/>
              </a:cxn>
            </a:cxnLst>
            <a:rect l="0" t="0" r="r" b="b"/>
            <a:pathLst>
              <a:path w="8640" h="114">
                <a:moveTo>
                  <a:pt x="8638" y="79"/>
                </a:moveTo>
                <a:lnTo>
                  <a:pt x="8638" y="79"/>
                </a:lnTo>
                <a:cubicBezTo>
                  <a:pt x="8635" y="60"/>
                  <a:pt x="8626" y="51"/>
                  <a:pt x="8604" y="44"/>
                </a:cubicBezTo>
                <a:lnTo>
                  <a:pt x="8604" y="44"/>
                </a:lnTo>
                <a:cubicBezTo>
                  <a:pt x="8592" y="40"/>
                  <a:pt x="8573" y="38"/>
                  <a:pt x="8548" y="36"/>
                </a:cubicBezTo>
                <a:lnTo>
                  <a:pt x="8548" y="37"/>
                </a:lnTo>
                <a:lnTo>
                  <a:pt x="91" y="37"/>
                </a:lnTo>
                <a:cubicBezTo>
                  <a:pt x="70" y="35"/>
                  <a:pt x="51" y="33"/>
                  <a:pt x="40" y="30"/>
                </a:cubicBezTo>
                <a:lnTo>
                  <a:pt x="39" y="30"/>
                </a:lnTo>
                <a:cubicBezTo>
                  <a:pt x="28" y="26"/>
                  <a:pt x="7" y="19"/>
                  <a:pt x="8" y="1"/>
                </a:cubicBezTo>
                <a:lnTo>
                  <a:pt x="8" y="0"/>
                </a:lnTo>
                <a:lnTo>
                  <a:pt x="0" y="0"/>
                </a:lnTo>
                <a:lnTo>
                  <a:pt x="0" y="1"/>
                </a:lnTo>
                <a:cubicBezTo>
                  <a:pt x="0" y="11"/>
                  <a:pt x="0" y="26"/>
                  <a:pt x="1" y="34"/>
                </a:cubicBezTo>
                <a:cubicBezTo>
                  <a:pt x="4" y="53"/>
                  <a:pt x="13" y="63"/>
                  <a:pt x="36" y="70"/>
                </a:cubicBezTo>
                <a:lnTo>
                  <a:pt x="36" y="70"/>
                </a:lnTo>
                <a:cubicBezTo>
                  <a:pt x="47" y="73"/>
                  <a:pt x="66" y="75"/>
                  <a:pt x="91" y="77"/>
                </a:cubicBezTo>
                <a:lnTo>
                  <a:pt x="91" y="77"/>
                </a:lnTo>
                <a:lnTo>
                  <a:pt x="8548" y="77"/>
                </a:lnTo>
                <a:cubicBezTo>
                  <a:pt x="8570" y="78"/>
                  <a:pt x="8588" y="80"/>
                  <a:pt x="8599" y="83"/>
                </a:cubicBezTo>
                <a:lnTo>
                  <a:pt x="8601" y="84"/>
                </a:lnTo>
                <a:cubicBezTo>
                  <a:pt x="8611" y="87"/>
                  <a:pt x="8632" y="94"/>
                  <a:pt x="8632" y="113"/>
                </a:cubicBezTo>
                <a:lnTo>
                  <a:pt x="8632" y="114"/>
                </a:lnTo>
                <a:lnTo>
                  <a:pt x="8640" y="114"/>
                </a:lnTo>
                <a:lnTo>
                  <a:pt x="8640" y="113"/>
                </a:lnTo>
                <a:cubicBezTo>
                  <a:pt x="8640" y="103"/>
                  <a:pt x="8639" y="87"/>
                  <a:pt x="8638" y="79"/>
                </a:cubicBez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ALT Section Header Light Blue">
    <p:bg bwMode="gray"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1280160"/>
            <a:ext cx="8229600" cy="1499616"/>
          </a:xfrm>
        </p:spPr>
        <p:txBody>
          <a:bodyPr anchor="b" anchorCtr="0">
            <a:noAutofit/>
          </a:bodyPr>
          <a:lstStyle>
            <a:lvl1pPr algn="l">
              <a:lnSpc>
                <a:spcPct val="90000"/>
              </a:lnSpc>
              <a:defRPr sz="5400" b="0" cap="none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Divider Tit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3291839"/>
            <a:ext cx="5486400" cy="1828800"/>
          </a:xfrm>
        </p:spPr>
        <p:txBody>
          <a:bodyPr anchor="t" anchorCtr="0">
            <a:noAutofit/>
          </a:bodyPr>
          <a:lstStyle>
            <a:lvl1pPr marL="0" indent="0">
              <a:lnSpc>
                <a:spcPct val="120000"/>
              </a:lnSpc>
              <a:spcBef>
                <a:spcPts val="600"/>
              </a:spcBef>
              <a:buNone/>
              <a:defRPr sz="2200">
                <a:solidFill>
                  <a:schemeClr val="bg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 vert="horz" wrap="square" lIns="0" tIns="0" rIns="0" bIns="0" rtlCol="0" anchor="ctr">
            <a:spAutoFit/>
          </a:bodyPr>
          <a:lstStyle>
            <a:lvl1pPr>
              <a:defRPr lang="en-US" smtClean="0"/>
            </a:lvl1pPr>
          </a:lstStyle>
          <a:p>
            <a:r>
              <a:rPr lang="en-US" smtClean="0"/>
              <a:t>COMPANY CONFIDENTIAL  |  FOR INTERNAL USE ONLY  |  DO NOT COPY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1A2DCB2D-F3A1-47AC-A248-15826C4C808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Freeform 5"/>
          <p:cNvSpPr>
            <a:spLocks/>
          </p:cNvSpPr>
          <p:nvPr/>
        </p:nvSpPr>
        <p:spPr bwMode="gray">
          <a:xfrm>
            <a:off x="451644" y="2942319"/>
            <a:ext cx="8240713" cy="123825"/>
          </a:xfrm>
          <a:custGeom>
            <a:avLst/>
            <a:gdLst/>
            <a:ahLst/>
            <a:cxnLst>
              <a:cxn ang="0">
                <a:pos x="8638" y="79"/>
              </a:cxn>
              <a:cxn ang="0">
                <a:pos x="8638" y="79"/>
              </a:cxn>
              <a:cxn ang="0">
                <a:pos x="8604" y="44"/>
              </a:cxn>
              <a:cxn ang="0">
                <a:pos x="8604" y="44"/>
              </a:cxn>
              <a:cxn ang="0">
                <a:pos x="8548" y="36"/>
              </a:cxn>
              <a:cxn ang="0">
                <a:pos x="8548" y="37"/>
              </a:cxn>
              <a:cxn ang="0">
                <a:pos x="91" y="37"/>
              </a:cxn>
              <a:cxn ang="0">
                <a:pos x="40" y="30"/>
              </a:cxn>
              <a:cxn ang="0">
                <a:pos x="39" y="30"/>
              </a:cxn>
              <a:cxn ang="0">
                <a:pos x="8" y="1"/>
              </a:cxn>
              <a:cxn ang="0">
                <a:pos x="8" y="0"/>
              </a:cxn>
              <a:cxn ang="0">
                <a:pos x="0" y="0"/>
              </a:cxn>
              <a:cxn ang="0">
                <a:pos x="0" y="1"/>
              </a:cxn>
              <a:cxn ang="0">
                <a:pos x="1" y="34"/>
              </a:cxn>
              <a:cxn ang="0">
                <a:pos x="36" y="70"/>
              </a:cxn>
              <a:cxn ang="0">
                <a:pos x="36" y="70"/>
              </a:cxn>
              <a:cxn ang="0">
                <a:pos x="91" y="77"/>
              </a:cxn>
              <a:cxn ang="0">
                <a:pos x="91" y="77"/>
              </a:cxn>
              <a:cxn ang="0">
                <a:pos x="8548" y="77"/>
              </a:cxn>
              <a:cxn ang="0">
                <a:pos x="8599" y="83"/>
              </a:cxn>
              <a:cxn ang="0">
                <a:pos x="8601" y="84"/>
              </a:cxn>
              <a:cxn ang="0">
                <a:pos x="8632" y="113"/>
              </a:cxn>
              <a:cxn ang="0">
                <a:pos x="8632" y="114"/>
              </a:cxn>
              <a:cxn ang="0">
                <a:pos x="8640" y="114"/>
              </a:cxn>
              <a:cxn ang="0">
                <a:pos x="8640" y="113"/>
              </a:cxn>
              <a:cxn ang="0">
                <a:pos x="8638" y="79"/>
              </a:cxn>
            </a:cxnLst>
            <a:rect l="0" t="0" r="r" b="b"/>
            <a:pathLst>
              <a:path w="8640" h="114">
                <a:moveTo>
                  <a:pt x="8638" y="79"/>
                </a:moveTo>
                <a:lnTo>
                  <a:pt x="8638" y="79"/>
                </a:lnTo>
                <a:cubicBezTo>
                  <a:pt x="8635" y="60"/>
                  <a:pt x="8626" y="51"/>
                  <a:pt x="8604" y="44"/>
                </a:cubicBezTo>
                <a:lnTo>
                  <a:pt x="8604" y="44"/>
                </a:lnTo>
                <a:cubicBezTo>
                  <a:pt x="8592" y="40"/>
                  <a:pt x="8573" y="38"/>
                  <a:pt x="8548" y="36"/>
                </a:cubicBezTo>
                <a:lnTo>
                  <a:pt x="8548" y="37"/>
                </a:lnTo>
                <a:lnTo>
                  <a:pt x="91" y="37"/>
                </a:lnTo>
                <a:cubicBezTo>
                  <a:pt x="70" y="35"/>
                  <a:pt x="51" y="33"/>
                  <a:pt x="40" y="30"/>
                </a:cubicBezTo>
                <a:lnTo>
                  <a:pt x="39" y="30"/>
                </a:lnTo>
                <a:cubicBezTo>
                  <a:pt x="28" y="26"/>
                  <a:pt x="7" y="19"/>
                  <a:pt x="8" y="1"/>
                </a:cubicBezTo>
                <a:lnTo>
                  <a:pt x="8" y="0"/>
                </a:lnTo>
                <a:lnTo>
                  <a:pt x="0" y="0"/>
                </a:lnTo>
                <a:lnTo>
                  <a:pt x="0" y="1"/>
                </a:lnTo>
                <a:cubicBezTo>
                  <a:pt x="0" y="11"/>
                  <a:pt x="0" y="26"/>
                  <a:pt x="1" y="34"/>
                </a:cubicBezTo>
                <a:cubicBezTo>
                  <a:pt x="4" y="53"/>
                  <a:pt x="13" y="63"/>
                  <a:pt x="36" y="70"/>
                </a:cubicBezTo>
                <a:lnTo>
                  <a:pt x="36" y="70"/>
                </a:lnTo>
                <a:cubicBezTo>
                  <a:pt x="47" y="73"/>
                  <a:pt x="66" y="75"/>
                  <a:pt x="91" y="77"/>
                </a:cubicBezTo>
                <a:lnTo>
                  <a:pt x="91" y="77"/>
                </a:lnTo>
                <a:lnTo>
                  <a:pt x="8548" y="77"/>
                </a:lnTo>
                <a:cubicBezTo>
                  <a:pt x="8570" y="78"/>
                  <a:pt x="8588" y="80"/>
                  <a:pt x="8599" y="83"/>
                </a:cubicBezTo>
                <a:lnTo>
                  <a:pt x="8601" y="84"/>
                </a:lnTo>
                <a:cubicBezTo>
                  <a:pt x="8611" y="87"/>
                  <a:pt x="8632" y="94"/>
                  <a:pt x="8632" y="113"/>
                </a:cubicBezTo>
                <a:lnTo>
                  <a:pt x="8632" y="114"/>
                </a:lnTo>
                <a:lnTo>
                  <a:pt x="8640" y="114"/>
                </a:lnTo>
                <a:lnTo>
                  <a:pt x="8640" y="113"/>
                </a:lnTo>
                <a:cubicBezTo>
                  <a:pt x="8640" y="103"/>
                  <a:pt x="8639" y="87"/>
                  <a:pt x="8638" y="79"/>
                </a:cubicBez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ALT Section Header Green">
    <p:bg bwMode="gray"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1280160"/>
            <a:ext cx="8229600" cy="1499616"/>
          </a:xfrm>
        </p:spPr>
        <p:txBody>
          <a:bodyPr anchor="b" anchorCtr="0">
            <a:noAutofit/>
          </a:bodyPr>
          <a:lstStyle>
            <a:lvl1pPr algn="l">
              <a:lnSpc>
                <a:spcPct val="90000"/>
              </a:lnSpc>
              <a:defRPr sz="5400" b="0" cap="none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Divider Tit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3291839"/>
            <a:ext cx="5486400" cy="1828800"/>
          </a:xfrm>
        </p:spPr>
        <p:txBody>
          <a:bodyPr anchor="t" anchorCtr="0">
            <a:noAutofit/>
          </a:bodyPr>
          <a:lstStyle>
            <a:lvl1pPr marL="0" indent="0">
              <a:lnSpc>
                <a:spcPct val="120000"/>
              </a:lnSpc>
              <a:spcBef>
                <a:spcPts val="600"/>
              </a:spcBef>
              <a:buNone/>
              <a:defRPr sz="2200">
                <a:solidFill>
                  <a:schemeClr val="bg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 vert="horz" wrap="square" lIns="0" tIns="0" rIns="0" bIns="0" rtlCol="0" anchor="ctr">
            <a:spAutoFit/>
          </a:bodyPr>
          <a:lstStyle>
            <a:lvl1pPr>
              <a:defRPr lang="en-US" smtClean="0"/>
            </a:lvl1pPr>
          </a:lstStyle>
          <a:p>
            <a:r>
              <a:rPr lang="en-US" smtClean="0"/>
              <a:t>COMPANY CONFIDENTIAL  |  FOR INTERNAL USE ONLY  |  DO NOT COPY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1A2DCB2D-F3A1-47AC-A248-15826C4C808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Freeform 5"/>
          <p:cNvSpPr>
            <a:spLocks/>
          </p:cNvSpPr>
          <p:nvPr/>
        </p:nvSpPr>
        <p:spPr bwMode="gray">
          <a:xfrm>
            <a:off x="451644" y="2942319"/>
            <a:ext cx="8240713" cy="123825"/>
          </a:xfrm>
          <a:custGeom>
            <a:avLst/>
            <a:gdLst/>
            <a:ahLst/>
            <a:cxnLst>
              <a:cxn ang="0">
                <a:pos x="8638" y="79"/>
              </a:cxn>
              <a:cxn ang="0">
                <a:pos x="8638" y="79"/>
              </a:cxn>
              <a:cxn ang="0">
                <a:pos x="8604" y="44"/>
              </a:cxn>
              <a:cxn ang="0">
                <a:pos x="8604" y="44"/>
              </a:cxn>
              <a:cxn ang="0">
                <a:pos x="8548" y="36"/>
              </a:cxn>
              <a:cxn ang="0">
                <a:pos x="8548" y="37"/>
              </a:cxn>
              <a:cxn ang="0">
                <a:pos x="91" y="37"/>
              </a:cxn>
              <a:cxn ang="0">
                <a:pos x="40" y="30"/>
              </a:cxn>
              <a:cxn ang="0">
                <a:pos x="39" y="30"/>
              </a:cxn>
              <a:cxn ang="0">
                <a:pos x="8" y="1"/>
              </a:cxn>
              <a:cxn ang="0">
                <a:pos x="8" y="0"/>
              </a:cxn>
              <a:cxn ang="0">
                <a:pos x="0" y="0"/>
              </a:cxn>
              <a:cxn ang="0">
                <a:pos x="0" y="1"/>
              </a:cxn>
              <a:cxn ang="0">
                <a:pos x="1" y="34"/>
              </a:cxn>
              <a:cxn ang="0">
                <a:pos x="36" y="70"/>
              </a:cxn>
              <a:cxn ang="0">
                <a:pos x="36" y="70"/>
              </a:cxn>
              <a:cxn ang="0">
                <a:pos x="91" y="77"/>
              </a:cxn>
              <a:cxn ang="0">
                <a:pos x="91" y="77"/>
              </a:cxn>
              <a:cxn ang="0">
                <a:pos x="8548" y="77"/>
              </a:cxn>
              <a:cxn ang="0">
                <a:pos x="8599" y="83"/>
              </a:cxn>
              <a:cxn ang="0">
                <a:pos x="8601" y="84"/>
              </a:cxn>
              <a:cxn ang="0">
                <a:pos x="8632" y="113"/>
              </a:cxn>
              <a:cxn ang="0">
                <a:pos x="8632" y="114"/>
              </a:cxn>
              <a:cxn ang="0">
                <a:pos x="8640" y="114"/>
              </a:cxn>
              <a:cxn ang="0">
                <a:pos x="8640" y="113"/>
              </a:cxn>
              <a:cxn ang="0">
                <a:pos x="8638" y="79"/>
              </a:cxn>
            </a:cxnLst>
            <a:rect l="0" t="0" r="r" b="b"/>
            <a:pathLst>
              <a:path w="8640" h="114">
                <a:moveTo>
                  <a:pt x="8638" y="79"/>
                </a:moveTo>
                <a:lnTo>
                  <a:pt x="8638" y="79"/>
                </a:lnTo>
                <a:cubicBezTo>
                  <a:pt x="8635" y="60"/>
                  <a:pt x="8626" y="51"/>
                  <a:pt x="8604" y="44"/>
                </a:cubicBezTo>
                <a:lnTo>
                  <a:pt x="8604" y="44"/>
                </a:lnTo>
                <a:cubicBezTo>
                  <a:pt x="8592" y="40"/>
                  <a:pt x="8573" y="38"/>
                  <a:pt x="8548" y="36"/>
                </a:cubicBezTo>
                <a:lnTo>
                  <a:pt x="8548" y="37"/>
                </a:lnTo>
                <a:lnTo>
                  <a:pt x="91" y="37"/>
                </a:lnTo>
                <a:cubicBezTo>
                  <a:pt x="70" y="35"/>
                  <a:pt x="51" y="33"/>
                  <a:pt x="40" y="30"/>
                </a:cubicBezTo>
                <a:lnTo>
                  <a:pt x="39" y="30"/>
                </a:lnTo>
                <a:cubicBezTo>
                  <a:pt x="28" y="26"/>
                  <a:pt x="7" y="19"/>
                  <a:pt x="8" y="1"/>
                </a:cubicBezTo>
                <a:lnTo>
                  <a:pt x="8" y="0"/>
                </a:lnTo>
                <a:lnTo>
                  <a:pt x="0" y="0"/>
                </a:lnTo>
                <a:lnTo>
                  <a:pt x="0" y="1"/>
                </a:lnTo>
                <a:cubicBezTo>
                  <a:pt x="0" y="11"/>
                  <a:pt x="0" y="26"/>
                  <a:pt x="1" y="34"/>
                </a:cubicBezTo>
                <a:cubicBezTo>
                  <a:pt x="4" y="53"/>
                  <a:pt x="13" y="63"/>
                  <a:pt x="36" y="70"/>
                </a:cubicBezTo>
                <a:lnTo>
                  <a:pt x="36" y="70"/>
                </a:lnTo>
                <a:cubicBezTo>
                  <a:pt x="47" y="73"/>
                  <a:pt x="66" y="75"/>
                  <a:pt x="91" y="77"/>
                </a:cubicBezTo>
                <a:lnTo>
                  <a:pt x="91" y="77"/>
                </a:lnTo>
                <a:lnTo>
                  <a:pt x="8548" y="77"/>
                </a:lnTo>
                <a:cubicBezTo>
                  <a:pt x="8570" y="78"/>
                  <a:pt x="8588" y="80"/>
                  <a:pt x="8599" y="83"/>
                </a:cubicBezTo>
                <a:lnTo>
                  <a:pt x="8601" y="84"/>
                </a:lnTo>
                <a:cubicBezTo>
                  <a:pt x="8611" y="87"/>
                  <a:pt x="8632" y="94"/>
                  <a:pt x="8632" y="113"/>
                </a:cubicBezTo>
                <a:lnTo>
                  <a:pt x="8632" y="114"/>
                </a:lnTo>
                <a:lnTo>
                  <a:pt x="8640" y="114"/>
                </a:lnTo>
                <a:lnTo>
                  <a:pt x="8640" y="113"/>
                </a:lnTo>
                <a:cubicBezTo>
                  <a:pt x="8640" y="103"/>
                  <a:pt x="8639" y="87"/>
                  <a:pt x="8638" y="79"/>
                </a:cubicBez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ALT Section Header Sand">
    <p:bg bwMode="gray">
      <p:bgPr>
        <a:solidFill>
          <a:srgbClr val="BA9D8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1280160"/>
            <a:ext cx="8229600" cy="1499616"/>
          </a:xfrm>
        </p:spPr>
        <p:txBody>
          <a:bodyPr anchor="b" anchorCtr="0">
            <a:noAutofit/>
          </a:bodyPr>
          <a:lstStyle>
            <a:lvl1pPr algn="l">
              <a:lnSpc>
                <a:spcPct val="90000"/>
              </a:lnSpc>
              <a:defRPr sz="5400" b="0" cap="none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Divider Tit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3291839"/>
            <a:ext cx="5486400" cy="1828800"/>
          </a:xfrm>
        </p:spPr>
        <p:txBody>
          <a:bodyPr anchor="t" anchorCtr="0">
            <a:noAutofit/>
          </a:bodyPr>
          <a:lstStyle>
            <a:lvl1pPr marL="0" indent="0">
              <a:lnSpc>
                <a:spcPct val="120000"/>
              </a:lnSpc>
              <a:spcBef>
                <a:spcPts val="600"/>
              </a:spcBef>
              <a:buNone/>
              <a:defRPr sz="2200">
                <a:solidFill>
                  <a:schemeClr val="bg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 vert="horz" wrap="square" lIns="0" tIns="0" rIns="0" bIns="0" rtlCol="0" anchor="ctr">
            <a:spAutoFit/>
          </a:bodyPr>
          <a:lstStyle>
            <a:lvl1pPr>
              <a:defRPr lang="en-US" smtClean="0"/>
            </a:lvl1pPr>
          </a:lstStyle>
          <a:p>
            <a:r>
              <a:rPr lang="en-US" smtClean="0"/>
              <a:t>COMPANY CONFIDENTIAL  |  FOR INTERNAL USE ONLY  |  DO NOT COPY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1A2DCB2D-F3A1-47AC-A248-15826C4C808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Freeform 5"/>
          <p:cNvSpPr>
            <a:spLocks/>
          </p:cNvSpPr>
          <p:nvPr/>
        </p:nvSpPr>
        <p:spPr bwMode="gray">
          <a:xfrm>
            <a:off x="451644" y="2942319"/>
            <a:ext cx="8240713" cy="123825"/>
          </a:xfrm>
          <a:custGeom>
            <a:avLst/>
            <a:gdLst/>
            <a:ahLst/>
            <a:cxnLst>
              <a:cxn ang="0">
                <a:pos x="8638" y="79"/>
              </a:cxn>
              <a:cxn ang="0">
                <a:pos x="8638" y="79"/>
              </a:cxn>
              <a:cxn ang="0">
                <a:pos x="8604" y="44"/>
              </a:cxn>
              <a:cxn ang="0">
                <a:pos x="8604" y="44"/>
              </a:cxn>
              <a:cxn ang="0">
                <a:pos x="8548" y="36"/>
              </a:cxn>
              <a:cxn ang="0">
                <a:pos x="8548" y="37"/>
              </a:cxn>
              <a:cxn ang="0">
                <a:pos x="91" y="37"/>
              </a:cxn>
              <a:cxn ang="0">
                <a:pos x="40" y="30"/>
              </a:cxn>
              <a:cxn ang="0">
                <a:pos x="39" y="30"/>
              </a:cxn>
              <a:cxn ang="0">
                <a:pos x="8" y="1"/>
              </a:cxn>
              <a:cxn ang="0">
                <a:pos x="8" y="0"/>
              </a:cxn>
              <a:cxn ang="0">
                <a:pos x="0" y="0"/>
              </a:cxn>
              <a:cxn ang="0">
                <a:pos x="0" y="1"/>
              </a:cxn>
              <a:cxn ang="0">
                <a:pos x="1" y="34"/>
              </a:cxn>
              <a:cxn ang="0">
                <a:pos x="36" y="70"/>
              </a:cxn>
              <a:cxn ang="0">
                <a:pos x="36" y="70"/>
              </a:cxn>
              <a:cxn ang="0">
                <a:pos x="91" y="77"/>
              </a:cxn>
              <a:cxn ang="0">
                <a:pos x="91" y="77"/>
              </a:cxn>
              <a:cxn ang="0">
                <a:pos x="8548" y="77"/>
              </a:cxn>
              <a:cxn ang="0">
                <a:pos x="8599" y="83"/>
              </a:cxn>
              <a:cxn ang="0">
                <a:pos x="8601" y="84"/>
              </a:cxn>
              <a:cxn ang="0">
                <a:pos x="8632" y="113"/>
              </a:cxn>
              <a:cxn ang="0">
                <a:pos x="8632" y="114"/>
              </a:cxn>
              <a:cxn ang="0">
                <a:pos x="8640" y="114"/>
              </a:cxn>
              <a:cxn ang="0">
                <a:pos x="8640" y="113"/>
              </a:cxn>
              <a:cxn ang="0">
                <a:pos x="8638" y="79"/>
              </a:cxn>
            </a:cxnLst>
            <a:rect l="0" t="0" r="r" b="b"/>
            <a:pathLst>
              <a:path w="8640" h="114">
                <a:moveTo>
                  <a:pt x="8638" y="79"/>
                </a:moveTo>
                <a:lnTo>
                  <a:pt x="8638" y="79"/>
                </a:lnTo>
                <a:cubicBezTo>
                  <a:pt x="8635" y="60"/>
                  <a:pt x="8626" y="51"/>
                  <a:pt x="8604" y="44"/>
                </a:cubicBezTo>
                <a:lnTo>
                  <a:pt x="8604" y="44"/>
                </a:lnTo>
                <a:cubicBezTo>
                  <a:pt x="8592" y="40"/>
                  <a:pt x="8573" y="38"/>
                  <a:pt x="8548" y="36"/>
                </a:cubicBezTo>
                <a:lnTo>
                  <a:pt x="8548" y="37"/>
                </a:lnTo>
                <a:lnTo>
                  <a:pt x="91" y="37"/>
                </a:lnTo>
                <a:cubicBezTo>
                  <a:pt x="70" y="35"/>
                  <a:pt x="51" y="33"/>
                  <a:pt x="40" y="30"/>
                </a:cubicBezTo>
                <a:lnTo>
                  <a:pt x="39" y="30"/>
                </a:lnTo>
                <a:cubicBezTo>
                  <a:pt x="28" y="26"/>
                  <a:pt x="7" y="19"/>
                  <a:pt x="8" y="1"/>
                </a:cubicBezTo>
                <a:lnTo>
                  <a:pt x="8" y="0"/>
                </a:lnTo>
                <a:lnTo>
                  <a:pt x="0" y="0"/>
                </a:lnTo>
                <a:lnTo>
                  <a:pt x="0" y="1"/>
                </a:lnTo>
                <a:cubicBezTo>
                  <a:pt x="0" y="11"/>
                  <a:pt x="0" y="26"/>
                  <a:pt x="1" y="34"/>
                </a:cubicBezTo>
                <a:cubicBezTo>
                  <a:pt x="4" y="53"/>
                  <a:pt x="13" y="63"/>
                  <a:pt x="36" y="70"/>
                </a:cubicBezTo>
                <a:lnTo>
                  <a:pt x="36" y="70"/>
                </a:lnTo>
                <a:cubicBezTo>
                  <a:pt x="47" y="73"/>
                  <a:pt x="66" y="75"/>
                  <a:pt x="91" y="77"/>
                </a:cubicBezTo>
                <a:lnTo>
                  <a:pt x="91" y="77"/>
                </a:lnTo>
                <a:lnTo>
                  <a:pt x="8548" y="77"/>
                </a:lnTo>
                <a:cubicBezTo>
                  <a:pt x="8570" y="78"/>
                  <a:pt x="8588" y="80"/>
                  <a:pt x="8599" y="83"/>
                </a:cubicBezTo>
                <a:lnTo>
                  <a:pt x="8601" y="84"/>
                </a:lnTo>
                <a:cubicBezTo>
                  <a:pt x="8611" y="87"/>
                  <a:pt x="8632" y="94"/>
                  <a:pt x="8632" y="113"/>
                </a:cubicBezTo>
                <a:lnTo>
                  <a:pt x="8632" y="114"/>
                </a:lnTo>
                <a:lnTo>
                  <a:pt x="8640" y="114"/>
                </a:lnTo>
                <a:lnTo>
                  <a:pt x="8640" y="113"/>
                </a:lnTo>
                <a:cubicBezTo>
                  <a:pt x="8640" y="103"/>
                  <a:pt x="8639" y="87"/>
                  <a:pt x="8638" y="79"/>
                </a:cubicBez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ALT Section Header Aqua">
    <p:bg bwMode="gray">
      <p:bgPr>
        <a:solidFill>
          <a:srgbClr val="5D967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1280160"/>
            <a:ext cx="8229600" cy="1499616"/>
          </a:xfrm>
        </p:spPr>
        <p:txBody>
          <a:bodyPr anchor="b" anchorCtr="0">
            <a:noAutofit/>
          </a:bodyPr>
          <a:lstStyle>
            <a:lvl1pPr algn="l">
              <a:lnSpc>
                <a:spcPct val="90000"/>
              </a:lnSpc>
              <a:defRPr sz="5400" b="0" cap="none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Divider Tit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3291839"/>
            <a:ext cx="5486400" cy="1828800"/>
          </a:xfrm>
        </p:spPr>
        <p:txBody>
          <a:bodyPr anchor="t" anchorCtr="0">
            <a:noAutofit/>
          </a:bodyPr>
          <a:lstStyle>
            <a:lvl1pPr marL="0" indent="0">
              <a:lnSpc>
                <a:spcPct val="120000"/>
              </a:lnSpc>
              <a:spcBef>
                <a:spcPts val="600"/>
              </a:spcBef>
              <a:buNone/>
              <a:defRPr sz="2200">
                <a:solidFill>
                  <a:schemeClr val="bg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 vert="horz" wrap="square" lIns="0" tIns="0" rIns="0" bIns="0" rtlCol="0" anchor="ctr">
            <a:spAutoFit/>
          </a:bodyPr>
          <a:lstStyle>
            <a:lvl1pPr>
              <a:defRPr lang="en-US" smtClean="0"/>
            </a:lvl1pPr>
          </a:lstStyle>
          <a:p>
            <a:r>
              <a:rPr lang="en-US" smtClean="0"/>
              <a:t>COMPANY CONFIDENTIAL  |  FOR INTERNAL USE ONLY  |  DO NOT COPY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1A2DCB2D-F3A1-47AC-A248-15826C4C808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Freeform 5"/>
          <p:cNvSpPr>
            <a:spLocks/>
          </p:cNvSpPr>
          <p:nvPr/>
        </p:nvSpPr>
        <p:spPr bwMode="gray">
          <a:xfrm>
            <a:off x="451644" y="2942319"/>
            <a:ext cx="8240713" cy="123825"/>
          </a:xfrm>
          <a:custGeom>
            <a:avLst/>
            <a:gdLst/>
            <a:ahLst/>
            <a:cxnLst>
              <a:cxn ang="0">
                <a:pos x="8638" y="79"/>
              </a:cxn>
              <a:cxn ang="0">
                <a:pos x="8638" y="79"/>
              </a:cxn>
              <a:cxn ang="0">
                <a:pos x="8604" y="44"/>
              </a:cxn>
              <a:cxn ang="0">
                <a:pos x="8604" y="44"/>
              </a:cxn>
              <a:cxn ang="0">
                <a:pos x="8548" y="36"/>
              </a:cxn>
              <a:cxn ang="0">
                <a:pos x="8548" y="37"/>
              </a:cxn>
              <a:cxn ang="0">
                <a:pos x="91" y="37"/>
              </a:cxn>
              <a:cxn ang="0">
                <a:pos x="40" y="30"/>
              </a:cxn>
              <a:cxn ang="0">
                <a:pos x="39" y="30"/>
              </a:cxn>
              <a:cxn ang="0">
                <a:pos x="8" y="1"/>
              </a:cxn>
              <a:cxn ang="0">
                <a:pos x="8" y="0"/>
              </a:cxn>
              <a:cxn ang="0">
                <a:pos x="0" y="0"/>
              </a:cxn>
              <a:cxn ang="0">
                <a:pos x="0" y="1"/>
              </a:cxn>
              <a:cxn ang="0">
                <a:pos x="1" y="34"/>
              </a:cxn>
              <a:cxn ang="0">
                <a:pos x="36" y="70"/>
              </a:cxn>
              <a:cxn ang="0">
                <a:pos x="36" y="70"/>
              </a:cxn>
              <a:cxn ang="0">
                <a:pos x="91" y="77"/>
              </a:cxn>
              <a:cxn ang="0">
                <a:pos x="91" y="77"/>
              </a:cxn>
              <a:cxn ang="0">
                <a:pos x="8548" y="77"/>
              </a:cxn>
              <a:cxn ang="0">
                <a:pos x="8599" y="83"/>
              </a:cxn>
              <a:cxn ang="0">
                <a:pos x="8601" y="84"/>
              </a:cxn>
              <a:cxn ang="0">
                <a:pos x="8632" y="113"/>
              </a:cxn>
              <a:cxn ang="0">
                <a:pos x="8632" y="114"/>
              </a:cxn>
              <a:cxn ang="0">
                <a:pos x="8640" y="114"/>
              </a:cxn>
              <a:cxn ang="0">
                <a:pos x="8640" y="113"/>
              </a:cxn>
              <a:cxn ang="0">
                <a:pos x="8638" y="79"/>
              </a:cxn>
            </a:cxnLst>
            <a:rect l="0" t="0" r="r" b="b"/>
            <a:pathLst>
              <a:path w="8640" h="114">
                <a:moveTo>
                  <a:pt x="8638" y="79"/>
                </a:moveTo>
                <a:lnTo>
                  <a:pt x="8638" y="79"/>
                </a:lnTo>
                <a:cubicBezTo>
                  <a:pt x="8635" y="60"/>
                  <a:pt x="8626" y="51"/>
                  <a:pt x="8604" y="44"/>
                </a:cubicBezTo>
                <a:lnTo>
                  <a:pt x="8604" y="44"/>
                </a:lnTo>
                <a:cubicBezTo>
                  <a:pt x="8592" y="40"/>
                  <a:pt x="8573" y="38"/>
                  <a:pt x="8548" y="36"/>
                </a:cubicBezTo>
                <a:lnTo>
                  <a:pt x="8548" y="37"/>
                </a:lnTo>
                <a:lnTo>
                  <a:pt x="91" y="37"/>
                </a:lnTo>
                <a:cubicBezTo>
                  <a:pt x="70" y="35"/>
                  <a:pt x="51" y="33"/>
                  <a:pt x="40" y="30"/>
                </a:cubicBezTo>
                <a:lnTo>
                  <a:pt x="39" y="30"/>
                </a:lnTo>
                <a:cubicBezTo>
                  <a:pt x="28" y="26"/>
                  <a:pt x="7" y="19"/>
                  <a:pt x="8" y="1"/>
                </a:cubicBezTo>
                <a:lnTo>
                  <a:pt x="8" y="0"/>
                </a:lnTo>
                <a:lnTo>
                  <a:pt x="0" y="0"/>
                </a:lnTo>
                <a:lnTo>
                  <a:pt x="0" y="1"/>
                </a:lnTo>
                <a:cubicBezTo>
                  <a:pt x="0" y="11"/>
                  <a:pt x="0" y="26"/>
                  <a:pt x="1" y="34"/>
                </a:cubicBezTo>
                <a:cubicBezTo>
                  <a:pt x="4" y="53"/>
                  <a:pt x="13" y="63"/>
                  <a:pt x="36" y="70"/>
                </a:cubicBezTo>
                <a:lnTo>
                  <a:pt x="36" y="70"/>
                </a:lnTo>
                <a:cubicBezTo>
                  <a:pt x="47" y="73"/>
                  <a:pt x="66" y="75"/>
                  <a:pt x="91" y="77"/>
                </a:cubicBezTo>
                <a:lnTo>
                  <a:pt x="91" y="77"/>
                </a:lnTo>
                <a:lnTo>
                  <a:pt x="8548" y="77"/>
                </a:lnTo>
                <a:cubicBezTo>
                  <a:pt x="8570" y="78"/>
                  <a:pt x="8588" y="80"/>
                  <a:pt x="8599" y="83"/>
                </a:cubicBezTo>
                <a:lnTo>
                  <a:pt x="8601" y="84"/>
                </a:lnTo>
                <a:cubicBezTo>
                  <a:pt x="8611" y="87"/>
                  <a:pt x="8632" y="94"/>
                  <a:pt x="8632" y="113"/>
                </a:cubicBezTo>
                <a:lnTo>
                  <a:pt x="8632" y="114"/>
                </a:lnTo>
                <a:lnTo>
                  <a:pt x="8640" y="114"/>
                </a:lnTo>
                <a:lnTo>
                  <a:pt x="8640" y="113"/>
                </a:lnTo>
                <a:cubicBezTo>
                  <a:pt x="8640" y="103"/>
                  <a:pt x="8639" y="87"/>
                  <a:pt x="8638" y="79"/>
                </a:cubicBez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ALT Section Header Purple">
    <p:bg bwMode="gray">
      <p:bgPr>
        <a:solidFill>
          <a:srgbClr val="815E9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1280160"/>
            <a:ext cx="8229600" cy="1499616"/>
          </a:xfrm>
        </p:spPr>
        <p:txBody>
          <a:bodyPr anchor="b" anchorCtr="0">
            <a:noAutofit/>
          </a:bodyPr>
          <a:lstStyle>
            <a:lvl1pPr algn="l">
              <a:lnSpc>
                <a:spcPct val="90000"/>
              </a:lnSpc>
              <a:defRPr sz="5400" b="0" cap="none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Divider Tit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3291839"/>
            <a:ext cx="5486400" cy="1828800"/>
          </a:xfrm>
        </p:spPr>
        <p:txBody>
          <a:bodyPr anchor="t" anchorCtr="0">
            <a:noAutofit/>
          </a:bodyPr>
          <a:lstStyle>
            <a:lvl1pPr marL="0" indent="0">
              <a:lnSpc>
                <a:spcPct val="120000"/>
              </a:lnSpc>
              <a:spcBef>
                <a:spcPts val="600"/>
              </a:spcBef>
              <a:buNone/>
              <a:defRPr sz="2200">
                <a:solidFill>
                  <a:schemeClr val="bg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 vert="horz" wrap="square" lIns="0" tIns="0" rIns="0" bIns="0" rtlCol="0" anchor="ctr">
            <a:spAutoFit/>
          </a:bodyPr>
          <a:lstStyle>
            <a:lvl1pPr>
              <a:defRPr lang="en-US" smtClean="0"/>
            </a:lvl1pPr>
          </a:lstStyle>
          <a:p>
            <a:r>
              <a:rPr lang="en-US" smtClean="0"/>
              <a:t>COMPANY CONFIDENTIAL  |  FOR INTERNAL USE ONLY  |  DO NOT COPY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1A2DCB2D-F3A1-47AC-A248-15826C4C808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Freeform 5"/>
          <p:cNvSpPr>
            <a:spLocks/>
          </p:cNvSpPr>
          <p:nvPr userDrawn="1"/>
        </p:nvSpPr>
        <p:spPr bwMode="gray">
          <a:xfrm>
            <a:off x="451644" y="2942319"/>
            <a:ext cx="8240713" cy="123825"/>
          </a:xfrm>
          <a:custGeom>
            <a:avLst/>
            <a:gdLst/>
            <a:ahLst/>
            <a:cxnLst>
              <a:cxn ang="0">
                <a:pos x="8638" y="79"/>
              </a:cxn>
              <a:cxn ang="0">
                <a:pos x="8638" y="79"/>
              </a:cxn>
              <a:cxn ang="0">
                <a:pos x="8604" y="44"/>
              </a:cxn>
              <a:cxn ang="0">
                <a:pos x="8604" y="44"/>
              </a:cxn>
              <a:cxn ang="0">
                <a:pos x="8548" y="36"/>
              </a:cxn>
              <a:cxn ang="0">
                <a:pos x="8548" y="37"/>
              </a:cxn>
              <a:cxn ang="0">
                <a:pos x="91" y="37"/>
              </a:cxn>
              <a:cxn ang="0">
                <a:pos x="40" y="30"/>
              </a:cxn>
              <a:cxn ang="0">
                <a:pos x="39" y="30"/>
              </a:cxn>
              <a:cxn ang="0">
                <a:pos x="8" y="1"/>
              </a:cxn>
              <a:cxn ang="0">
                <a:pos x="8" y="0"/>
              </a:cxn>
              <a:cxn ang="0">
                <a:pos x="0" y="0"/>
              </a:cxn>
              <a:cxn ang="0">
                <a:pos x="0" y="1"/>
              </a:cxn>
              <a:cxn ang="0">
                <a:pos x="1" y="34"/>
              </a:cxn>
              <a:cxn ang="0">
                <a:pos x="36" y="70"/>
              </a:cxn>
              <a:cxn ang="0">
                <a:pos x="36" y="70"/>
              </a:cxn>
              <a:cxn ang="0">
                <a:pos x="91" y="77"/>
              </a:cxn>
              <a:cxn ang="0">
                <a:pos x="91" y="77"/>
              </a:cxn>
              <a:cxn ang="0">
                <a:pos x="8548" y="77"/>
              </a:cxn>
              <a:cxn ang="0">
                <a:pos x="8599" y="83"/>
              </a:cxn>
              <a:cxn ang="0">
                <a:pos x="8601" y="84"/>
              </a:cxn>
              <a:cxn ang="0">
                <a:pos x="8632" y="113"/>
              </a:cxn>
              <a:cxn ang="0">
                <a:pos x="8632" y="114"/>
              </a:cxn>
              <a:cxn ang="0">
                <a:pos x="8640" y="114"/>
              </a:cxn>
              <a:cxn ang="0">
                <a:pos x="8640" y="113"/>
              </a:cxn>
              <a:cxn ang="0">
                <a:pos x="8638" y="79"/>
              </a:cxn>
            </a:cxnLst>
            <a:rect l="0" t="0" r="r" b="b"/>
            <a:pathLst>
              <a:path w="8640" h="114">
                <a:moveTo>
                  <a:pt x="8638" y="79"/>
                </a:moveTo>
                <a:lnTo>
                  <a:pt x="8638" y="79"/>
                </a:lnTo>
                <a:cubicBezTo>
                  <a:pt x="8635" y="60"/>
                  <a:pt x="8626" y="51"/>
                  <a:pt x="8604" y="44"/>
                </a:cubicBezTo>
                <a:lnTo>
                  <a:pt x="8604" y="44"/>
                </a:lnTo>
                <a:cubicBezTo>
                  <a:pt x="8592" y="40"/>
                  <a:pt x="8573" y="38"/>
                  <a:pt x="8548" y="36"/>
                </a:cubicBezTo>
                <a:lnTo>
                  <a:pt x="8548" y="37"/>
                </a:lnTo>
                <a:lnTo>
                  <a:pt x="91" y="37"/>
                </a:lnTo>
                <a:cubicBezTo>
                  <a:pt x="70" y="35"/>
                  <a:pt x="51" y="33"/>
                  <a:pt x="40" y="30"/>
                </a:cubicBezTo>
                <a:lnTo>
                  <a:pt x="39" y="30"/>
                </a:lnTo>
                <a:cubicBezTo>
                  <a:pt x="28" y="26"/>
                  <a:pt x="7" y="19"/>
                  <a:pt x="8" y="1"/>
                </a:cubicBezTo>
                <a:lnTo>
                  <a:pt x="8" y="0"/>
                </a:lnTo>
                <a:lnTo>
                  <a:pt x="0" y="0"/>
                </a:lnTo>
                <a:lnTo>
                  <a:pt x="0" y="1"/>
                </a:lnTo>
                <a:cubicBezTo>
                  <a:pt x="0" y="11"/>
                  <a:pt x="0" y="26"/>
                  <a:pt x="1" y="34"/>
                </a:cubicBezTo>
                <a:cubicBezTo>
                  <a:pt x="4" y="53"/>
                  <a:pt x="13" y="63"/>
                  <a:pt x="36" y="70"/>
                </a:cubicBezTo>
                <a:lnTo>
                  <a:pt x="36" y="70"/>
                </a:lnTo>
                <a:cubicBezTo>
                  <a:pt x="47" y="73"/>
                  <a:pt x="66" y="75"/>
                  <a:pt x="91" y="77"/>
                </a:cubicBezTo>
                <a:lnTo>
                  <a:pt x="91" y="77"/>
                </a:lnTo>
                <a:lnTo>
                  <a:pt x="8548" y="77"/>
                </a:lnTo>
                <a:cubicBezTo>
                  <a:pt x="8570" y="78"/>
                  <a:pt x="8588" y="80"/>
                  <a:pt x="8599" y="83"/>
                </a:cubicBezTo>
                <a:lnTo>
                  <a:pt x="8601" y="84"/>
                </a:lnTo>
                <a:cubicBezTo>
                  <a:pt x="8611" y="87"/>
                  <a:pt x="8632" y="94"/>
                  <a:pt x="8632" y="113"/>
                </a:cubicBezTo>
                <a:lnTo>
                  <a:pt x="8632" y="114"/>
                </a:lnTo>
                <a:lnTo>
                  <a:pt x="8640" y="114"/>
                </a:lnTo>
                <a:lnTo>
                  <a:pt x="8640" y="113"/>
                </a:lnTo>
                <a:cubicBezTo>
                  <a:pt x="8640" y="103"/>
                  <a:pt x="8639" y="87"/>
                  <a:pt x="8638" y="79"/>
                </a:cubicBez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wo Column with Imag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846320" y="1149013"/>
            <a:ext cx="4114800" cy="954107"/>
          </a:xfrm>
        </p:spPr>
        <p:txBody>
          <a:bodyPr>
            <a:no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4846320" y="2286000"/>
            <a:ext cx="4114800" cy="3931920"/>
          </a:xfrm>
        </p:spPr>
        <p:txBody>
          <a:bodyPr>
            <a:noAutofit/>
          </a:bodyPr>
          <a:lstStyle>
            <a:lvl1pPr marL="61913" indent="-61913">
              <a:defRPr sz="2400">
                <a:solidFill>
                  <a:schemeClr val="tx2"/>
                </a:solidFill>
              </a:defRPr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OMPANY CONFIDENTIAL  |  FOR INTERNAL USE ONLY  |  DO NOT COPY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2DCB2D-F3A1-47AC-A248-15826C4C808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Freeform 5"/>
          <p:cNvSpPr>
            <a:spLocks/>
          </p:cNvSpPr>
          <p:nvPr/>
        </p:nvSpPr>
        <p:spPr bwMode="gray">
          <a:xfrm>
            <a:off x="4509294" y="412750"/>
            <a:ext cx="125413" cy="6032500"/>
          </a:xfrm>
          <a:custGeom>
            <a:avLst/>
            <a:gdLst/>
            <a:ahLst/>
            <a:cxnLst>
              <a:cxn ang="0">
                <a:pos x="80" y="2"/>
              </a:cxn>
              <a:cxn ang="0">
                <a:pos x="80" y="2"/>
              </a:cxn>
              <a:cxn ang="0">
                <a:pos x="44" y="36"/>
              </a:cxn>
              <a:cxn ang="0">
                <a:pos x="44" y="36"/>
              </a:cxn>
              <a:cxn ang="0">
                <a:pos x="37" y="91"/>
              </a:cxn>
              <a:cxn ang="0">
                <a:pos x="37" y="91"/>
              </a:cxn>
              <a:cxn ang="0">
                <a:pos x="37" y="3071"/>
              </a:cxn>
              <a:cxn ang="0">
                <a:pos x="37" y="6227"/>
              </a:cxn>
              <a:cxn ang="0">
                <a:pos x="31" y="6278"/>
              </a:cxn>
              <a:cxn ang="0">
                <a:pos x="30" y="6279"/>
              </a:cxn>
              <a:cxn ang="0">
                <a:pos x="1" y="6310"/>
              </a:cxn>
              <a:cxn ang="0">
                <a:pos x="0" y="6310"/>
              </a:cxn>
              <a:cxn ang="0">
                <a:pos x="0" y="6318"/>
              </a:cxn>
              <a:cxn ang="0">
                <a:pos x="1" y="6318"/>
              </a:cxn>
              <a:cxn ang="0">
                <a:pos x="35" y="6317"/>
              </a:cxn>
              <a:cxn ang="0">
                <a:pos x="70" y="6282"/>
              </a:cxn>
              <a:cxn ang="0">
                <a:pos x="70" y="6282"/>
              </a:cxn>
              <a:cxn ang="0">
                <a:pos x="78" y="6227"/>
              </a:cxn>
              <a:cxn ang="0">
                <a:pos x="77" y="6227"/>
              </a:cxn>
              <a:cxn ang="0">
                <a:pos x="77" y="3138"/>
              </a:cxn>
              <a:cxn ang="0">
                <a:pos x="77" y="91"/>
              </a:cxn>
              <a:cxn ang="0">
                <a:pos x="84" y="40"/>
              </a:cxn>
              <a:cxn ang="0">
                <a:pos x="84" y="39"/>
              </a:cxn>
              <a:cxn ang="0">
                <a:pos x="113" y="8"/>
              </a:cxn>
              <a:cxn ang="0">
                <a:pos x="115" y="8"/>
              </a:cxn>
              <a:cxn ang="0">
                <a:pos x="115" y="1"/>
              </a:cxn>
              <a:cxn ang="0">
                <a:pos x="113" y="1"/>
              </a:cxn>
              <a:cxn ang="0">
                <a:pos x="80" y="2"/>
              </a:cxn>
            </a:cxnLst>
            <a:rect l="0" t="0" r="r" b="b"/>
            <a:pathLst>
              <a:path w="115" h="6319">
                <a:moveTo>
                  <a:pt x="80" y="2"/>
                </a:moveTo>
                <a:lnTo>
                  <a:pt x="80" y="2"/>
                </a:lnTo>
                <a:cubicBezTo>
                  <a:pt x="61" y="4"/>
                  <a:pt x="51" y="13"/>
                  <a:pt x="44" y="36"/>
                </a:cubicBezTo>
                <a:lnTo>
                  <a:pt x="44" y="36"/>
                </a:lnTo>
                <a:cubicBezTo>
                  <a:pt x="41" y="48"/>
                  <a:pt x="39" y="66"/>
                  <a:pt x="37" y="91"/>
                </a:cubicBezTo>
                <a:lnTo>
                  <a:pt x="37" y="91"/>
                </a:lnTo>
                <a:lnTo>
                  <a:pt x="37" y="3071"/>
                </a:lnTo>
                <a:lnTo>
                  <a:pt x="37" y="6227"/>
                </a:lnTo>
                <a:cubicBezTo>
                  <a:pt x="36" y="6248"/>
                  <a:pt x="34" y="6267"/>
                  <a:pt x="31" y="6278"/>
                </a:cubicBezTo>
                <a:lnTo>
                  <a:pt x="30" y="6279"/>
                </a:lnTo>
                <a:cubicBezTo>
                  <a:pt x="27" y="6290"/>
                  <a:pt x="20" y="6311"/>
                  <a:pt x="1" y="6310"/>
                </a:cubicBezTo>
                <a:lnTo>
                  <a:pt x="0" y="6310"/>
                </a:lnTo>
                <a:lnTo>
                  <a:pt x="0" y="6318"/>
                </a:lnTo>
                <a:lnTo>
                  <a:pt x="1" y="6318"/>
                </a:lnTo>
                <a:cubicBezTo>
                  <a:pt x="11" y="6319"/>
                  <a:pt x="26" y="6318"/>
                  <a:pt x="35" y="6317"/>
                </a:cubicBezTo>
                <a:cubicBezTo>
                  <a:pt x="54" y="6314"/>
                  <a:pt x="63" y="6305"/>
                  <a:pt x="70" y="6282"/>
                </a:cubicBezTo>
                <a:lnTo>
                  <a:pt x="70" y="6282"/>
                </a:lnTo>
                <a:cubicBezTo>
                  <a:pt x="74" y="6271"/>
                  <a:pt x="76" y="6252"/>
                  <a:pt x="78" y="6227"/>
                </a:cubicBezTo>
                <a:lnTo>
                  <a:pt x="77" y="6227"/>
                </a:lnTo>
                <a:lnTo>
                  <a:pt x="77" y="3138"/>
                </a:lnTo>
                <a:lnTo>
                  <a:pt x="77" y="91"/>
                </a:lnTo>
                <a:cubicBezTo>
                  <a:pt x="79" y="70"/>
                  <a:pt x="81" y="52"/>
                  <a:pt x="84" y="40"/>
                </a:cubicBezTo>
                <a:lnTo>
                  <a:pt x="84" y="39"/>
                </a:lnTo>
                <a:cubicBezTo>
                  <a:pt x="88" y="29"/>
                  <a:pt x="95" y="7"/>
                  <a:pt x="113" y="8"/>
                </a:cubicBezTo>
                <a:lnTo>
                  <a:pt x="115" y="8"/>
                </a:lnTo>
                <a:lnTo>
                  <a:pt x="115" y="1"/>
                </a:lnTo>
                <a:lnTo>
                  <a:pt x="113" y="1"/>
                </a:lnTo>
                <a:cubicBezTo>
                  <a:pt x="103" y="0"/>
                  <a:pt x="88" y="1"/>
                  <a:pt x="80" y="2"/>
                </a:cubicBezTo>
                <a:close/>
              </a:path>
            </a:pathLst>
          </a:custGeom>
          <a:solidFill>
            <a:schemeClr val="accent1"/>
          </a:solidFill>
          <a:ln w="12700">
            <a:solidFill>
              <a:schemeClr val="accent1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3" hasCustomPrompt="1"/>
          </p:nvPr>
        </p:nvSpPr>
        <p:spPr>
          <a:xfrm>
            <a:off x="457200" y="457200"/>
            <a:ext cx="3931920" cy="5943600"/>
          </a:xfrm>
          <a:prstGeom prst="roundRect">
            <a:avLst>
              <a:gd name="adj" fmla="val 4237"/>
            </a:avLst>
          </a:prstGeom>
        </p:spPr>
        <p:txBody>
          <a:bodyPr>
            <a:normAutofit/>
          </a:bodyPr>
          <a:lstStyle>
            <a:lvl1pPr>
              <a:defRPr sz="2000" baseline="0">
                <a:solidFill>
                  <a:schemeClr val="accent6"/>
                </a:solidFill>
              </a:defRPr>
            </a:lvl1pPr>
          </a:lstStyle>
          <a:p>
            <a:r>
              <a:rPr lang="en-US" dirty="0" smtClean="0"/>
              <a:t>Click icon to insert picture from file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2pPr marL="282575" indent="-182563">
              <a:defRPr/>
            </a:lvl2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OMPANY CONFIDENTIAL  |  FOR INTERNAL USE ONLY  |  DO NOT COPY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2DCB2D-F3A1-47AC-A248-15826C4C808C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wo Column with Imag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846320" y="1149013"/>
            <a:ext cx="4114800" cy="954107"/>
          </a:xfrm>
        </p:spPr>
        <p:txBody>
          <a:bodyPr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4846320" y="2286000"/>
            <a:ext cx="4114800" cy="3931920"/>
          </a:xfrm>
        </p:spPr>
        <p:txBody>
          <a:bodyPr>
            <a:noAutofit/>
          </a:bodyPr>
          <a:lstStyle>
            <a:lvl1pPr marL="61913" indent="-61913">
              <a:defRPr sz="2400">
                <a:solidFill>
                  <a:schemeClr val="tx2"/>
                </a:solidFill>
              </a:defRPr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OMPANY CONFIDENTIAL  |  FOR INTERNAL USE ONLY  |  DO NOT COPY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2DCB2D-F3A1-47AC-A248-15826C4C808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Freeform 5"/>
          <p:cNvSpPr>
            <a:spLocks/>
          </p:cNvSpPr>
          <p:nvPr/>
        </p:nvSpPr>
        <p:spPr bwMode="gray">
          <a:xfrm>
            <a:off x="4509294" y="412750"/>
            <a:ext cx="125413" cy="6032500"/>
          </a:xfrm>
          <a:custGeom>
            <a:avLst/>
            <a:gdLst/>
            <a:ahLst/>
            <a:cxnLst>
              <a:cxn ang="0">
                <a:pos x="80" y="2"/>
              </a:cxn>
              <a:cxn ang="0">
                <a:pos x="80" y="2"/>
              </a:cxn>
              <a:cxn ang="0">
                <a:pos x="44" y="36"/>
              </a:cxn>
              <a:cxn ang="0">
                <a:pos x="44" y="36"/>
              </a:cxn>
              <a:cxn ang="0">
                <a:pos x="37" y="91"/>
              </a:cxn>
              <a:cxn ang="0">
                <a:pos x="37" y="91"/>
              </a:cxn>
              <a:cxn ang="0">
                <a:pos x="37" y="3071"/>
              </a:cxn>
              <a:cxn ang="0">
                <a:pos x="37" y="6227"/>
              </a:cxn>
              <a:cxn ang="0">
                <a:pos x="31" y="6278"/>
              </a:cxn>
              <a:cxn ang="0">
                <a:pos x="30" y="6279"/>
              </a:cxn>
              <a:cxn ang="0">
                <a:pos x="1" y="6310"/>
              </a:cxn>
              <a:cxn ang="0">
                <a:pos x="0" y="6310"/>
              </a:cxn>
              <a:cxn ang="0">
                <a:pos x="0" y="6318"/>
              </a:cxn>
              <a:cxn ang="0">
                <a:pos x="1" y="6318"/>
              </a:cxn>
              <a:cxn ang="0">
                <a:pos x="35" y="6317"/>
              </a:cxn>
              <a:cxn ang="0">
                <a:pos x="70" y="6282"/>
              </a:cxn>
              <a:cxn ang="0">
                <a:pos x="70" y="6282"/>
              </a:cxn>
              <a:cxn ang="0">
                <a:pos x="78" y="6227"/>
              </a:cxn>
              <a:cxn ang="0">
                <a:pos x="77" y="6227"/>
              </a:cxn>
              <a:cxn ang="0">
                <a:pos x="77" y="3138"/>
              </a:cxn>
              <a:cxn ang="0">
                <a:pos x="77" y="91"/>
              </a:cxn>
              <a:cxn ang="0">
                <a:pos x="84" y="40"/>
              </a:cxn>
              <a:cxn ang="0">
                <a:pos x="84" y="39"/>
              </a:cxn>
              <a:cxn ang="0">
                <a:pos x="113" y="8"/>
              </a:cxn>
              <a:cxn ang="0">
                <a:pos x="115" y="8"/>
              </a:cxn>
              <a:cxn ang="0">
                <a:pos x="115" y="1"/>
              </a:cxn>
              <a:cxn ang="0">
                <a:pos x="113" y="1"/>
              </a:cxn>
              <a:cxn ang="0">
                <a:pos x="80" y="2"/>
              </a:cxn>
            </a:cxnLst>
            <a:rect l="0" t="0" r="r" b="b"/>
            <a:pathLst>
              <a:path w="115" h="6319">
                <a:moveTo>
                  <a:pt x="80" y="2"/>
                </a:moveTo>
                <a:lnTo>
                  <a:pt x="80" y="2"/>
                </a:lnTo>
                <a:cubicBezTo>
                  <a:pt x="61" y="4"/>
                  <a:pt x="51" y="13"/>
                  <a:pt x="44" y="36"/>
                </a:cubicBezTo>
                <a:lnTo>
                  <a:pt x="44" y="36"/>
                </a:lnTo>
                <a:cubicBezTo>
                  <a:pt x="41" y="48"/>
                  <a:pt x="39" y="66"/>
                  <a:pt x="37" y="91"/>
                </a:cubicBezTo>
                <a:lnTo>
                  <a:pt x="37" y="91"/>
                </a:lnTo>
                <a:lnTo>
                  <a:pt x="37" y="3071"/>
                </a:lnTo>
                <a:lnTo>
                  <a:pt x="37" y="6227"/>
                </a:lnTo>
                <a:cubicBezTo>
                  <a:pt x="36" y="6248"/>
                  <a:pt x="34" y="6267"/>
                  <a:pt x="31" y="6278"/>
                </a:cubicBezTo>
                <a:lnTo>
                  <a:pt x="30" y="6279"/>
                </a:lnTo>
                <a:cubicBezTo>
                  <a:pt x="27" y="6290"/>
                  <a:pt x="20" y="6311"/>
                  <a:pt x="1" y="6310"/>
                </a:cubicBezTo>
                <a:lnTo>
                  <a:pt x="0" y="6310"/>
                </a:lnTo>
                <a:lnTo>
                  <a:pt x="0" y="6318"/>
                </a:lnTo>
                <a:lnTo>
                  <a:pt x="1" y="6318"/>
                </a:lnTo>
                <a:cubicBezTo>
                  <a:pt x="11" y="6319"/>
                  <a:pt x="26" y="6318"/>
                  <a:pt x="35" y="6317"/>
                </a:cubicBezTo>
                <a:cubicBezTo>
                  <a:pt x="54" y="6314"/>
                  <a:pt x="63" y="6305"/>
                  <a:pt x="70" y="6282"/>
                </a:cubicBezTo>
                <a:lnTo>
                  <a:pt x="70" y="6282"/>
                </a:lnTo>
                <a:cubicBezTo>
                  <a:pt x="74" y="6271"/>
                  <a:pt x="76" y="6252"/>
                  <a:pt x="78" y="6227"/>
                </a:cubicBezTo>
                <a:lnTo>
                  <a:pt x="77" y="6227"/>
                </a:lnTo>
                <a:lnTo>
                  <a:pt x="77" y="3138"/>
                </a:lnTo>
                <a:lnTo>
                  <a:pt x="77" y="91"/>
                </a:lnTo>
                <a:cubicBezTo>
                  <a:pt x="79" y="70"/>
                  <a:pt x="81" y="52"/>
                  <a:pt x="84" y="40"/>
                </a:cubicBezTo>
                <a:lnTo>
                  <a:pt x="84" y="39"/>
                </a:lnTo>
                <a:cubicBezTo>
                  <a:pt x="88" y="29"/>
                  <a:pt x="95" y="7"/>
                  <a:pt x="113" y="8"/>
                </a:cubicBezTo>
                <a:lnTo>
                  <a:pt x="115" y="8"/>
                </a:lnTo>
                <a:lnTo>
                  <a:pt x="115" y="1"/>
                </a:lnTo>
                <a:lnTo>
                  <a:pt x="113" y="1"/>
                </a:lnTo>
                <a:cubicBezTo>
                  <a:pt x="103" y="0"/>
                  <a:pt x="88" y="1"/>
                  <a:pt x="80" y="2"/>
                </a:cubicBezTo>
                <a:close/>
              </a:path>
            </a:pathLst>
          </a:custGeom>
          <a:solidFill>
            <a:schemeClr val="bg1">
              <a:lumMod val="75000"/>
            </a:schemeClr>
          </a:solidFill>
          <a:ln w="12700">
            <a:solidFill>
              <a:schemeClr val="bg1">
                <a:lumMod val="75000"/>
              </a:schemeClr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3" hasCustomPrompt="1"/>
          </p:nvPr>
        </p:nvSpPr>
        <p:spPr>
          <a:xfrm>
            <a:off x="457200" y="457200"/>
            <a:ext cx="3931920" cy="5943600"/>
          </a:xfrm>
          <a:prstGeom prst="roundRect">
            <a:avLst>
              <a:gd name="adj" fmla="val 4237"/>
            </a:avLst>
          </a:prstGeom>
        </p:spPr>
        <p:txBody>
          <a:bodyPr>
            <a:normAutofit/>
          </a:bodyPr>
          <a:lstStyle>
            <a:lvl1pPr>
              <a:defRPr sz="2000" baseline="0">
                <a:solidFill>
                  <a:schemeClr val="accent6"/>
                </a:solidFill>
              </a:defRPr>
            </a:lvl1pPr>
          </a:lstStyle>
          <a:p>
            <a:r>
              <a:rPr lang="en-US" dirty="0" smtClean="0"/>
              <a:t>Click icon to insert picture from fi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623678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ark Blue Two Column with Text + Da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ounded Rectangle 9"/>
          <p:cNvSpPr/>
          <p:nvPr/>
        </p:nvSpPr>
        <p:spPr bwMode="gray">
          <a:xfrm>
            <a:off x="457200" y="457200"/>
            <a:ext cx="3931920" cy="5943600"/>
          </a:xfrm>
          <a:prstGeom prst="roundRect">
            <a:avLst>
              <a:gd name="adj" fmla="val 4567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846320" y="1645920"/>
            <a:ext cx="4114800" cy="1005840"/>
          </a:xfrm>
        </p:spPr>
        <p:txBody>
          <a:bodyPr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4846320" y="2834640"/>
            <a:ext cx="4114800" cy="3291840"/>
          </a:xfrm>
        </p:spPr>
        <p:txBody>
          <a:bodyPr>
            <a:noAutofit/>
          </a:bodyPr>
          <a:lstStyle>
            <a:lvl1pPr marL="61913" indent="-61913">
              <a:buClr>
                <a:schemeClr val="accent1"/>
              </a:buClr>
              <a:defRPr sz="2400">
                <a:solidFill>
                  <a:schemeClr val="tx2"/>
                </a:solidFill>
              </a:defRPr>
            </a:lvl1pPr>
            <a:lvl2pPr>
              <a:buClr>
                <a:schemeClr val="accent1"/>
              </a:buClr>
              <a:defRPr sz="2000"/>
            </a:lvl2pPr>
            <a:lvl3pPr>
              <a:buClr>
                <a:schemeClr val="accent1"/>
              </a:buClr>
              <a:defRPr sz="1800"/>
            </a:lvl3pPr>
            <a:lvl4pPr>
              <a:buClr>
                <a:schemeClr val="accent1"/>
              </a:buClr>
              <a:defRPr sz="1600"/>
            </a:lvl4pPr>
            <a:lvl5pPr>
              <a:buClr>
                <a:schemeClr val="accent1"/>
              </a:buCl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OMPANY CONFIDENTIAL  |  FOR INTERNAL USE ONLY  |  DO NOT COPY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2DCB2D-F3A1-47AC-A248-15826C4C808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Freeform 5"/>
          <p:cNvSpPr>
            <a:spLocks/>
          </p:cNvSpPr>
          <p:nvPr/>
        </p:nvSpPr>
        <p:spPr bwMode="gray">
          <a:xfrm>
            <a:off x="4509294" y="412750"/>
            <a:ext cx="125413" cy="6032500"/>
          </a:xfrm>
          <a:custGeom>
            <a:avLst/>
            <a:gdLst/>
            <a:ahLst/>
            <a:cxnLst>
              <a:cxn ang="0">
                <a:pos x="80" y="2"/>
              </a:cxn>
              <a:cxn ang="0">
                <a:pos x="80" y="2"/>
              </a:cxn>
              <a:cxn ang="0">
                <a:pos x="44" y="36"/>
              </a:cxn>
              <a:cxn ang="0">
                <a:pos x="44" y="36"/>
              </a:cxn>
              <a:cxn ang="0">
                <a:pos x="37" y="91"/>
              </a:cxn>
              <a:cxn ang="0">
                <a:pos x="37" y="91"/>
              </a:cxn>
              <a:cxn ang="0">
                <a:pos x="37" y="3071"/>
              </a:cxn>
              <a:cxn ang="0">
                <a:pos x="37" y="6227"/>
              </a:cxn>
              <a:cxn ang="0">
                <a:pos x="31" y="6278"/>
              </a:cxn>
              <a:cxn ang="0">
                <a:pos x="30" y="6279"/>
              </a:cxn>
              <a:cxn ang="0">
                <a:pos x="1" y="6310"/>
              </a:cxn>
              <a:cxn ang="0">
                <a:pos x="0" y="6310"/>
              </a:cxn>
              <a:cxn ang="0">
                <a:pos x="0" y="6318"/>
              </a:cxn>
              <a:cxn ang="0">
                <a:pos x="1" y="6318"/>
              </a:cxn>
              <a:cxn ang="0">
                <a:pos x="35" y="6317"/>
              </a:cxn>
              <a:cxn ang="0">
                <a:pos x="70" y="6282"/>
              </a:cxn>
              <a:cxn ang="0">
                <a:pos x="70" y="6282"/>
              </a:cxn>
              <a:cxn ang="0">
                <a:pos x="78" y="6227"/>
              </a:cxn>
              <a:cxn ang="0">
                <a:pos x="77" y="6227"/>
              </a:cxn>
              <a:cxn ang="0">
                <a:pos x="77" y="3138"/>
              </a:cxn>
              <a:cxn ang="0">
                <a:pos x="77" y="91"/>
              </a:cxn>
              <a:cxn ang="0">
                <a:pos x="84" y="40"/>
              </a:cxn>
              <a:cxn ang="0">
                <a:pos x="84" y="39"/>
              </a:cxn>
              <a:cxn ang="0">
                <a:pos x="113" y="8"/>
              </a:cxn>
              <a:cxn ang="0">
                <a:pos x="115" y="8"/>
              </a:cxn>
              <a:cxn ang="0">
                <a:pos x="115" y="1"/>
              </a:cxn>
              <a:cxn ang="0">
                <a:pos x="113" y="1"/>
              </a:cxn>
              <a:cxn ang="0">
                <a:pos x="80" y="2"/>
              </a:cxn>
            </a:cxnLst>
            <a:rect l="0" t="0" r="r" b="b"/>
            <a:pathLst>
              <a:path w="115" h="6319">
                <a:moveTo>
                  <a:pt x="80" y="2"/>
                </a:moveTo>
                <a:lnTo>
                  <a:pt x="80" y="2"/>
                </a:lnTo>
                <a:cubicBezTo>
                  <a:pt x="61" y="4"/>
                  <a:pt x="51" y="13"/>
                  <a:pt x="44" y="36"/>
                </a:cubicBezTo>
                <a:lnTo>
                  <a:pt x="44" y="36"/>
                </a:lnTo>
                <a:cubicBezTo>
                  <a:pt x="41" y="48"/>
                  <a:pt x="39" y="66"/>
                  <a:pt x="37" y="91"/>
                </a:cubicBezTo>
                <a:lnTo>
                  <a:pt x="37" y="91"/>
                </a:lnTo>
                <a:lnTo>
                  <a:pt x="37" y="3071"/>
                </a:lnTo>
                <a:lnTo>
                  <a:pt x="37" y="6227"/>
                </a:lnTo>
                <a:cubicBezTo>
                  <a:pt x="36" y="6248"/>
                  <a:pt x="34" y="6267"/>
                  <a:pt x="31" y="6278"/>
                </a:cubicBezTo>
                <a:lnTo>
                  <a:pt x="30" y="6279"/>
                </a:lnTo>
                <a:cubicBezTo>
                  <a:pt x="27" y="6290"/>
                  <a:pt x="20" y="6311"/>
                  <a:pt x="1" y="6310"/>
                </a:cubicBezTo>
                <a:lnTo>
                  <a:pt x="0" y="6310"/>
                </a:lnTo>
                <a:lnTo>
                  <a:pt x="0" y="6318"/>
                </a:lnTo>
                <a:lnTo>
                  <a:pt x="1" y="6318"/>
                </a:lnTo>
                <a:cubicBezTo>
                  <a:pt x="11" y="6319"/>
                  <a:pt x="26" y="6318"/>
                  <a:pt x="35" y="6317"/>
                </a:cubicBezTo>
                <a:cubicBezTo>
                  <a:pt x="54" y="6314"/>
                  <a:pt x="63" y="6305"/>
                  <a:pt x="70" y="6282"/>
                </a:cubicBezTo>
                <a:lnTo>
                  <a:pt x="70" y="6282"/>
                </a:lnTo>
                <a:cubicBezTo>
                  <a:pt x="74" y="6271"/>
                  <a:pt x="76" y="6252"/>
                  <a:pt x="78" y="6227"/>
                </a:cubicBezTo>
                <a:lnTo>
                  <a:pt x="77" y="6227"/>
                </a:lnTo>
                <a:lnTo>
                  <a:pt x="77" y="3138"/>
                </a:lnTo>
                <a:lnTo>
                  <a:pt x="77" y="91"/>
                </a:lnTo>
                <a:cubicBezTo>
                  <a:pt x="79" y="70"/>
                  <a:pt x="81" y="52"/>
                  <a:pt x="84" y="40"/>
                </a:cubicBezTo>
                <a:lnTo>
                  <a:pt x="84" y="39"/>
                </a:lnTo>
                <a:cubicBezTo>
                  <a:pt x="88" y="29"/>
                  <a:pt x="95" y="7"/>
                  <a:pt x="113" y="8"/>
                </a:cubicBezTo>
                <a:lnTo>
                  <a:pt x="115" y="8"/>
                </a:lnTo>
                <a:lnTo>
                  <a:pt x="115" y="1"/>
                </a:lnTo>
                <a:lnTo>
                  <a:pt x="113" y="1"/>
                </a:lnTo>
                <a:cubicBezTo>
                  <a:pt x="103" y="0"/>
                  <a:pt x="88" y="1"/>
                  <a:pt x="80" y="2"/>
                </a:cubicBezTo>
                <a:close/>
              </a:path>
            </a:pathLst>
          </a:custGeom>
          <a:solidFill>
            <a:schemeClr val="bg1">
              <a:lumMod val="75000"/>
            </a:schemeClr>
          </a:solidFill>
          <a:ln w="12700">
            <a:solidFill>
              <a:schemeClr val="bg1">
                <a:lumMod val="75000"/>
              </a:schemeClr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548640" y="1005840"/>
            <a:ext cx="3931920" cy="1188720"/>
          </a:xfrm>
        </p:spPr>
        <p:txBody>
          <a:bodyPr anchor="b" anchorCtr="0">
            <a:noAutofit/>
          </a:bodyPr>
          <a:lstStyle>
            <a:lvl1pPr>
              <a:spcBef>
                <a:spcPts val="0"/>
              </a:spcBef>
              <a:buNone/>
              <a:defRPr sz="8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% here</a:t>
            </a:r>
            <a:endParaRPr lang="en-US" dirty="0"/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4"/>
          </p:nvPr>
        </p:nvSpPr>
        <p:spPr>
          <a:xfrm>
            <a:off x="548640" y="2194560"/>
            <a:ext cx="3749040" cy="822960"/>
          </a:xfrm>
        </p:spPr>
        <p:txBody>
          <a:bodyPr>
            <a:noAutofit/>
          </a:bodyPr>
          <a:lstStyle>
            <a:lvl1pPr>
              <a:buNone/>
              <a:defRPr sz="20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548640" y="3840480"/>
            <a:ext cx="3931920" cy="1188720"/>
          </a:xfrm>
        </p:spPr>
        <p:txBody>
          <a:bodyPr anchor="b" anchorCtr="0">
            <a:noAutofit/>
          </a:bodyPr>
          <a:lstStyle>
            <a:lvl1pPr>
              <a:spcBef>
                <a:spcPts val="0"/>
              </a:spcBef>
              <a:buNone/>
              <a:defRPr sz="8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% here</a:t>
            </a:r>
            <a:endParaRPr lang="en-US" dirty="0"/>
          </a:p>
        </p:txBody>
      </p:sp>
      <p:sp>
        <p:nvSpPr>
          <p:cNvPr id="17" name="Text Placeholder 14"/>
          <p:cNvSpPr>
            <a:spLocks noGrp="1"/>
          </p:cNvSpPr>
          <p:nvPr>
            <p:ph type="body" sz="quarter" idx="16"/>
          </p:nvPr>
        </p:nvSpPr>
        <p:spPr>
          <a:xfrm>
            <a:off x="548640" y="5029200"/>
            <a:ext cx="3749040" cy="822960"/>
          </a:xfrm>
        </p:spPr>
        <p:txBody>
          <a:bodyPr>
            <a:noAutofit/>
          </a:bodyPr>
          <a:lstStyle>
            <a:lvl1pPr>
              <a:buNone/>
              <a:defRPr sz="20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ight Blue Two Column with Text + Da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ounded Rectangle 9"/>
          <p:cNvSpPr/>
          <p:nvPr/>
        </p:nvSpPr>
        <p:spPr bwMode="gray">
          <a:xfrm>
            <a:off x="457200" y="457200"/>
            <a:ext cx="3931920" cy="5943600"/>
          </a:xfrm>
          <a:prstGeom prst="roundRect">
            <a:avLst>
              <a:gd name="adj" fmla="val 4567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846320" y="1645920"/>
            <a:ext cx="4114800" cy="1005840"/>
          </a:xfrm>
        </p:spPr>
        <p:txBody>
          <a:bodyPr>
            <a:noAutofit/>
          </a:bodyPr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4846320" y="2834640"/>
            <a:ext cx="4114800" cy="3291840"/>
          </a:xfrm>
        </p:spPr>
        <p:txBody>
          <a:bodyPr>
            <a:noAutofit/>
          </a:bodyPr>
          <a:lstStyle>
            <a:lvl1pPr marL="61913" indent="-61913">
              <a:buClr>
                <a:schemeClr val="accent2"/>
              </a:buClr>
              <a:defRPr sz="2400">
                <a:solidFill>
                  <a:schemeClr val="tx2"/>
                </a:solidFill>
              </a:defRPr>
            </a:lvl1pPr>
            <a:lvl2pPr>
              <a:buClr>
                <a:schemeClr val="accent2"/>
              </a:buClr>
              <a:defRPr sz="2000"/>
            </a:lvl2pPr>
            <a:lvl3pPr>
              <a:buClr>
                <a:schemeClr val="accent2"/>
              </a:buClr>
              <a:defRPr sz="1800"/>
            </a:lvl3pPr>
            <a:lvl4pPr>
              <a:buClr>
                <a:schemeClr val="accent2"/>
              </a:buClr>
              <a:defRPr sz="1600"/>
            </a:lvl4pPr>
            <a:lvl5pPr>
              <a:buClr>
                <a:schemeClr val="accent2"/>
              </a:buCl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OMPANY CONFIDENTIAL  |  FOR INTERNAL USE ONLY  |  DO NOT COPY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2DCB2D-F3A1-47AC-A248-15826C4C808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548640" y="1005840"/>
            <a:ext cx="3931920" cy="1188720"/>
          </a:xfrm>
        </p:spPr>
        <p:txBody>
          <a:bodyPr anchor="b" anchorCtr="0">
            <a:noAutofit/>
          </a:bodyPr>
          <a:lstStyle>
            <a:lvl1pPr>
              <a:spcBef>
                <a:spcPts val="0"/>
              </a:spcBef>
              <a:defRPr sz="8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% here</a:t>
            </a:r>
            <a:endParaRPr lang="en-US" dirty="0"/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4"/>
          </p:nvPr>
        </p:nvSpPr>
        <p:spPr>
          <a:xfrm>
            <a:off x="548640" y="2194560"/>
            <a:ext cx="3749040" cy="822960"/>
          </a:xfrm>
        </p:spPr>
        <p:txBody>
          <a:bodyPr>
            <a:noAutofit/>
          </a:bodyPr>
          <a:lstStyle>
            <a:lvl1pPr>
              <a:defRPr sz="20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548640" y="3840480"/>
            <a:ext cx="3931920" cy="1188720"/>
          </a:xfrm>
        </p:spPr>
        <p:txBody>
          <a:bodyPr anchor="b" anchorCtr="0">
            <a:noAutofit/>
          </a:bodyPr>
          <a:lstStyle>
            <a:lvl1pPr>
              <a:spcBef>
                <a:spcPts val="0"/>
              </a:spcBef>
              <a:defRPr sz="8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% here</a:t>
            </a:r>
            <a:endParaRPr lang="en-US" dirty="0"/>
          </a:p>
        </p:txBody>
      </p:sp>
      <p:sp>
        <p:nvSpPr>
          <p:cNvPr id="17" name="Text Placeholder 14"/>
          <p:cNvSpPr>
            <a:spLocks noGrp="1"/>
          </p:cNvSpPr>
          <p:nvPr>
            <p:ph type="body" sz="quarter" idx="16"/>
          </p:nvPr>
        </p:nvSpPr>
        <p:spPr>
          <a:xfrm>
            <a:off x="548640" y="5029200"/>
            <a:ext cx="3749040" cy="822960"/>
          </a:xfrm>
        </p:spPr>
        <p:txBody>
          <a:bodyPr>
            <a:noAutofit/>
          </a:bodyPr>
          <a:lstStyle>
            <a:lvl1pPr>
              <a:defRPr sz="20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Freeform 5"/>
          <p:cNvSpPr>
            <a:spLocks/>
          </p:cNvSpPr>
          <p:nvPr/>
        </p:nvSpPr>
        <p:spPr bwMode="gray">
          <a:xfrm>
            <a:off x="4509294" y="412750"/>
            <a:ext cx="125413" cy="6032500"/>
          </a:xfrm>
          <a:custGeom>
            <a:avLst/>
            <a:gdLst/>
            <a:ahLst/>
            <a:cxnLst>
              <a:cxn ang="0">
                <a:pos x="80" y="2"/>
              </a:cxn>
              <a:cxn ang="0">
                <a:pos x="80" y="2"/>
              </a:cxn>
              <a:cxn ang="0">
                <a:pos x="44" y="36"/>
              </a:cxn>
              <a:cxn ang="0">
                <a:pos x="44" y="36"/>
              </a:cxn>
              <a:cxn ang="0">
                <a:pos x="37" y="91"/>
              </a:cxn>
              <a:cxn ang="0">
                <a:pos x="37" y="91"/>
              </a:cxn>
              <a:cxn ang="0">
                <a:pos x="37" y="3071"/>
              </a:cxn>
              <a:cxn ang="0">
                <a:pos x="37" y="6227"/>
              </a:cxn>
              <a:cxn ang="0">
                <a:pos x="31" y="6278"/>
              </a:cxn>
              <a:cxn ang="0">
                <a:pos x="30" y="6279"/>
              </a:cxn>
              <a:cxn ang="0">
                <a:pos x="1" y="6310"/>
              </a:cxn>
              <a:cxn ang="0">
                <a:pos x="0" y="6310"/>
              </a:cxn>
              <a:cxn ang="0">
                <a:pos x="0" y="6318"/>
              </a:cxn>
              <a:cxn ang="0">
                <a:pos x="1" y="6318"/>
              </a:cxn>
              <a:cxn ang="0">
                <a:pos x="35" y="6317"/>
              </a:cxn>
              <a:cxn ang="0">
                <a:pos x="70" y="6282"/>
              </a:cxn>
              <a:cxn ang="0">
                <a:pos x="70" y="6282"/>
              </a:cxn>
              <a:cxn ang="0">
                <a:pos x="78" y="6227"/>
              </a:cxn>
              <a:cxn ang="0">
                <a:pos x="77" y="6227"/>
              </a:cxn>
              <a:cxn ang="0">
                <a:pos x="77" y="3138"/>
              </a:cxn>
              <a:cxn ang="0">
                <a:pos x="77" y="91"/>
              </a:cxn>
              <a:cxn ang="0">
                <a:pos x="84" y="40"/>
              </a:cxn>
              <a:cxn ang="0">
                <a:pos x="84" y="39"/>
              </a:cxn>
              <a:cxn ang="0">
                <a:pos x="113" y="8"/>
              </a:cxn>
              <a:cxn ang="0">
                <a:pos x="115" y="8"/>
              </a:cxn>
              <a:cxn ang="0">
                <a:pos x="115" y="1"/>
              </a:cxn>
              <a:cxn ang="0">
                <a:pos x="113" y="1"/>
              </a:cxn>
              <a:cxn ang="0">
                <a:pos x="80" y="2"/>
              </a:cxn>
            </a:cxnLst>
            <a:rect l="0" t="0" r="r" b="b"/>
            <a:pathLst>
              <a:path w="115" h="6319">
                <a:moveTo>
                  <a:pt x="80" y="2"/>
                </a:moveTo>
                <a:lnTo>
                  <a:pt x="80" y="2"/>
                </a:lnTo>
                <a:cubicBezTo>
                  <a:pt x="61" y="4"/>
                  <a:pt x="51" y="13"/>
                  <a:pt x="44" y="36"/>
                </a:cubicBezTo>
                <a:lnTo>
                  <a:pt x="44" y="36"/>
                </a:lnTo>
                <a:cubicBezTo>
                  <a:pt x="41" y="48"/>
                  <a:pt x="39" y="66"/>
                  <a:pt x="37" y="91"/>
                </a:cubicBezTo>
                <a:lnTo>
                  <a:pt x="37" y="91"/>
                </a:lnTo>
                <a:lnTo>
                  <a:pt x="37" y="3071"/>
                </a:lnTo>
                <a:lnTo>
                  <a:pt x="37" y="6227"/>
                </a:lnTo>
                <a:cubicBezTo>
                  <a:pt x="36" y="6248"/>
                  <a:pt x="34" y="6267"/>
                  <a:pt x="31" y="6278"/>
                </a:cubicBezTo>
                <a:lnTo>
                  <a:pt x="30" y="6279"/>
                </a:lnTo>
                <a:cubicBezTo>
                  <a:pt x="27" y="6290"/>
                  <a:pt x="20" y="6311"/>
                  <a:pt x="1" y="6310"/>
                </a:cubicBezTo>
                <a:lnTo>
                  <a:pt x="0" y="6310"/>
                </a:lnTo>
                <a:lnTo>
                  <a:pt x="0" y="6318"/>
                </a:lnTo>
                <a:lnTo>
                  <a:pt x="1" y="6318"/>
                </a:lnTo>
                <a:cubicBezTo>
                  <a:pt x="11" y="6319"/>
                  <a:pt x="26" y="6318"/>
                  <a:pt x="35" y="6317"/>
                </a:cubicBezTo>
                <a:cubicBezTo>
                  <a:pt x="54" y="6314"/>
                  <a:pt x="63" y="6305"/>
                  <a:pt x="70" y="6282"/>
                </a:cubicBezTo>
                <a:lnTo>
                  <a:pt x="70" y="6282"/>
                </a:lnTo>
                <a:cubicBezTo>
                  <a:pt x="74" y="6271"/>
                  <a:pt x="76" y="6252"/>
                  <a:pt x="78" y="6227"/>
                </a:cubicBezTo>
                <a:lnTo>
                  <a:pt x="77" y="6227"/>
                </a:lnTo>
                <a:lnTo>
                  <a:pt x="77" y="3138"/>
                </a:lnTo>
                <a:lnTo>
                  <a:pt x="77" y="91"/>
                </a:lnTo>
                <a:cubicBezTo>
                  <a:pt x="79" y="70"/>
                  <a:pt x="81" y="52"/>
                  <a:pt x="84" y="40"/>
                </a:cubicBezTo>
                <a:lnTo>
                  <a:pt x="84" y="39"/>
                </a:lnTo>
                <a:cubicBezTo>
                  <a:pt x="88" y="29"/>
                  <a:pt x="95" y="7"/>
                  <a:pt x="113" y="8"/>
                </a:cubicBezTo>
                <a:lnTo>
                  <a:pt x="115" y="8"/>
                </a:lnTo>
                <a:lnTo>
                  <a:pt x="115" y="1"/>
                </a:lnTo>
                <a:lnTo>
                  <a:pt x="113" y="1"/>
                </a:lnTo>
                <a:cubicBezTo>
                  <a:pt x="103" y="0"/>
                  <a:pt x="88" y="1"/>
                  <a:pt x="80" y="2"/>
                </a:cubicBezTo>
                <a:close/>
              </a:path>
            </a:pathLst>
          </a:custGeom>
          <a:solidFill>
            <a:schemeClr val="accent1"/>
          </a:solidFill>
          <a:ln w="12700">
            <a:solidFill>
              <a:schemeClr val="accent1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Green Two Column with Text + Da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ounded Rectangle 9"/>
          <p:cNvSpPr/>
          <p:nvPr/>
        </p:nvSpPr>
        <p:spPr bwMode="gray">
          <a:xfrm>
            <a:off x="457200" y="457200"/>
            <a:ext cx="3931920" cy="5943600"/>
          </a:xfrm>
          <a:prstGeom prst="roundRect">
            <a:avLst>
              <a:gd name="adj" fmla="val 4567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846320" y="1645920"/>
            <a:ext cx="4114800" cy="1005840"/>
          </a:xfrm>
        </p:spPr>
        <p:txBody>
          <a:bodyPr>
            <a:noAutofit/>
          </a:bodyPr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4846320" y="2834640"/>
            <a:ext cx="4114800" cy="3291840"/>
          </a:xfrm>
        </p:spPr>
        <p:txBody>
          <a:bodyPr>
            <a:noAutofit/>
          </a:bodyPr>
          <a:lstStyle>
            <a:lvl1pPr marL="61913" indent="-61913">
              <a:buClr>
                <a:schemeClr val="accent4"/>
              </a:buClr>
              <a:defRPr sz="2400">
                <a:solidFill>
                  <a:schemeClr val="tx2"/>
                </a:solidFill>
              </a:defRPr>
            </a:lvl1pPr>
            <a:lvl2pPr>
              <a:buClr>
                <a:schemeClr val="accent4"/>
              </a:buClr>
              <a:defRPr sz="2000"/>
            </a:lvl2pPr>
            <a:lvl3pPr>
              <a:buClr>
                <a:schemeClr val="accent4"/>
              </a:buClr>
              <a:defRPr sz="1800"/>
            </a:lvl3pPr>
            <a:lvl4pPr>
              <a:buClr>
                <a:schemeClr val="accent4"/>
              </a:buClr>
              <a:defRPr sz="1600"/>
            </a:lvl4pPr>
            <a:lvl5pPr>
              <a:buClr>
                <a:schemeClr val="accent4"/>
              </a:buCl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OMPANY CONFIDENTIAL  |  FOR INTERNAL USE ONLY  |  DO NOT COPY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2DCB2D-F3A1-47AC-A248-15826C4C808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548640" y="1005840"/>
            <a:ext cx="3931920" cy="1188720"/>
          </a:xfrm>
        </p:spPr>
        <p:txBody>
          <a:bodyPr anchor="b" anchorCtr="0">
            <a:noAutofit/>
          </a:bodyPr>
          <a:lstStyle>
            <a:lvl1pPr>
              <a:spcBef>
                <a:spcPts val="0"/>
              </a:spcBef>
              <a:defRPr sz="8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% here</a:t>
            </a:r>
            <a:endParaRPr lang="en-US" dirty="0"/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4"/>
          </p:nvPr>
        </p:nvSpPr>
        <p:spPr>
          <a:xfrm>
            <a:off x="548640" y="2194560"/>
            <a:ext cx="3749040" cy="822960"/>
          </a:xfrm>
        </p:spPr>
        <p:txBody>
          <a:bodyPr>
            <a:noAutofit/>
          </a:bodyPr>
          <a:lstStyle>
            <a:lvl1pPr>
              <a:defRPr sz="20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548640" y="3840480"/>
            <a:ext cx="3931920" cy="1188720"/>
          </a:xfrm>
        </p:spPr>
        <p:txBody>
          <a:bodyPr anchor="b" anchorCtr="0">
            <a:noAutofit/>
          </a:bodyPr>
          <a:lstStyle>
            <a:lvl1pPr>
              <a:spcBef>
                <a:spcPts val="0"/>
              </a:spcBef>
              <a:defRPr sz="8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% here</a:t>
            </a:r>
            <a:endParaRPr lang="en-US" dirty="0"/>
          </a:p>
        </p:txBody>
      </p:sp>
      <p:sp>
        <p:nvSpPr>
          <p:cNvPr id="17" name="Text Placeholder 14"/>
          <p:cNvSpPr>
            <a:spLocks noGrp="1"/>
          </p:cNvSpPr>
          <p:nvPr>
            <p:ph type="body" sz="quarter" idx="16"/>
          </p:nvPr>
        </p:nvSpPr>
        <p:spPr>
          <a:xfrm>
            <a:off x="548640" y="5029200"/>
            <a:ext cx="3749040" cy="822960"/>
          </a:xfrm>
        </p:spPr>
        <p:txBody>
          <a:bodyPr>
            <a:noAutofit/>
          </a:bodyPr>
          <a:lstStyle>
            <a:lvl1pPr>
              <a:defRPr sz="20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Freeform 5"/>
          <p:cNvSpPr>
            <a:spLocks/>
          </p:cNvSpPr>
          <p:nvPr/>
        </p:nvSpPr>
        <p:spPr bwMode="gray">
          <a:xfrm>
            <a:off x="4509294" y="412750"/>
            <a:ext cx="125413" cy="6032500"/>
          </a:xfrm>
          <a:custGeom>
            <a:avLst/>
            <a:gdLst/>
            <a:ahLst/>
            <a:cxnLst>
              <a:cxn ang="0">
                <a:pos x="80" y="2"/>
              </a:cxn>
              <a:cxn ang="0">
                <a:pos x="80" y="2"/>
              </a:cxn>
              <a:cxn ang="0">
                <a:pos x="44" y="36"/>
              </a:cxn>
              <a:cxn ang="0">
                <a:pos x="44" y="36"/>
              </a:cxn>
              <a:cxn ang="0">
                <a:pos x="37" y="91"/>
              </a:cxn>
              <a:cxn ang="0">
                <a:pos x="37" y="91"/>
              </a:cxn>
              <a:cxn ang="0">
                <a:pos x="37" y="3071"/>
              </a:cxn>
              <a:cxn ang="0">
                <a:pos x="37" y="6227"/>
              </a:cxn>
              <a:cxn ang="0">
                <a:pos x="31" y="6278"/>
              </a:cxn>
              <a:cxn ang="0">
                <a:pos x="30" y="6279"/>
              </a:cxn>
              <a:cxn ang="0">
                <a:pos x="1" y="6310"/>
              </a:cxn>
              <a:cxn ang="0">
                <a:pos x="0" y="6310"/>
              </a:cxn>
              <a:cxn ang="0">
                <a:pos x="0" y="6318"/>
              </a:cxn>
              <a:cxn ang="0">
                <a:pos x="1" y="6318"/>
              </a:cxn>
              <a:cxn ang="0">
                <a:pos x="35" y="6317"/>
              </a:cxn>
              <a:cxn ang="0">
                <a:pos x="70" y="6282"/>
              </a:cxn>
              <a:cxn ang="0">
                <a:pos x="70" y="6282"/>
              </a:cxn>
              <a:cxn ang="0">
                <a:pos x="78" y="6227"/>
              </a:cxn>
              <a:cxn ang="0">
                <a:pos x="77" y="6227"/>
              </a:cxn>
              <a:cxn ang="0">
                <a:pos x="77" y="3138"/>
              </a:cxn>
              <a:cxn ang="0">
                <a:pos x="77" y="91"/>
              </a:cxn>
              <a:cxn ang="0">
                <a:pos x="84" y="40"/>
              </a:cxn>
              <a:cxn ang="0">
                <a:pos x="84" y="39"/>
              </a:cxn>
              <a:cxn ang="0">
                <a:pos x="113" y="8"/>
              </a:cxn>
              <a:cxn ang="0">
                <a:pos x="115" y="8"/>
              </a:cxn>
              <a:cxn ang="0">
                <a:pos x="115" y="1"/>
              </a:cxn>
              <a:cxn ang="0">
                <a:pos x="113" y="1"/>
              </a:cxn>
              <a:cxn ang="0">
                <a:pos x="80" y="2"/>
              </a:cxn>
            </a:cxnLst>
            <a:rect l="0" t="0" r="r" b="b"/>
            <a:pathLst>
              <a:path w="115" h="6319">
                <a:moveTo>
                  <a:pt x="80" y="2"/>
                </a:moveTo>
                <a:lnTo>
                  <a:pt x="80" y="2"/>
                </a:lnTo>
                <a:cubicBezTo>
                  <a:pt x="61" y="4"/>
                  <a:pt x="51" y="13"/>
                  <a:pt x="44" y="36"/>
                </a:cubicBezTo>
                <a:lnTo>
                  <a:pt x="44" y="36"/>
                </a:lnTo>
                <a:cubicBezTo>
                  <a:pt x="41" y="48"/>
                  <a:pt x="39" y="66"/>
                  <a:pt x="37" y="91"/>
                </a:cubicBezTo>
                <a:lnTo>
                  <a:pt x="37" y="91"/>
                </a:lnTo>
                <a:lnTo>
                  <a:pt x="37" y="3071"/>
                </a:lnTo>
                <a:lnTo>
                  <a:pt x="37" y="6227"/>
                </a:lnTo>
                <a:cubicBezTo>
                  <a:pt x="36" y="6248"/>
                  <a:pt x="34" y="6267"/>
                  <a:pt x="31" y="6278"/>
                </a:cubicBezTo>
                <a:lnTo>
                  <a:pt x="30" y="6279"/>
                </a:lnTo>
                <a:cubicBezTo>
                  <a:pt x="27" y="6290"/>
                  <a:pt x="20" y="6311"/>
                  <a:pt x="1" y="6310"/>
                </a:cubicBezTo>
                <a:lnTo>
                  <a:pt x="0" y="6310"/>
                </a:lnTo>
                <a:lnTo>
                  <a:pt x="0" y="6318"/>
                </a:lnTo>
                <a:lnTo>
                  <a:pt x="1" y="6318"/>
                </a:lnTo>
                <a:cubicBezTo>
                  <a:pt x="11" y="6319"/>
                  <a:pt x="26" y="6318"/>
                  <a:pt x="35" y="6317"/>
                </a:cubicBezTo>
                <a:cubicBezTo>
                  <a:pt x="54" y="6314"/>
                  <a:pt x="63" y="6305"/>
                  <a:pt x="70" y="6282"/>
                </a:cubicBezTo>
                <a:lnTo>
                  <a:pt x="70" y="6282"/>
                </a:lnTo>
                <a:cubicBezTo>
                  <a:pt x="74" y="6271"/>
                  <a:pt x="76" y="6252"/>
                  <a:pt x="78" y="6227"/>
                </a:cubicBezTo>
                <a:lnTo>
                  <a:pt x="77" y="6227"/>
                </a:lnTo>
                <a:lnTo>
                  <a:pt x="77" y="3138"/>
                </a:lnTo>
                <a:lnTo>
                  <a:pt x="77" y="91"/>
                </a:lnTo>
                <a:cubicBezTo>
                  <a:pt x="79" y="70"/>
                  <a:pt x="81" y="52"/>
                  <a:pt x="84" y="40"/>
                </a:cubicBezTo>
                <a:lnTo>
                  <a:pt x="84" y="39"/>
                </a:lnTo>
                <a:cubicBezTo>
                  <a:pt x="88" y="29"/>
                  <a:pt x="95" y="7"/>
                  <a:pt x="113" y="8"/>
                </a:cubicBezTo>
                <a:lnTo>
                  <a:pt x="115" y="8"/>
                </a:lnTo>
                <a:lnTo>
                  <a:pt x="115" y="1"/>
                </a:lnTo>
                <a:lnTo>
                  <a:pt x="113" y="1"/>
                </a:lnTo>
                <a:cubicBezTo>
                  <a:pt x="103" y="0"/>
                  <a:pt x="88" y="1"/>
                  <a:pt x="80" y="2"/>
                </a:cubicBezTo>
                <a:close/>
              </a:path>
            </a:pathLst>
          </a:custGeom>
          <a:solidFill>
            <a:schemeClr val="accent1"/>
          </a:solidFill>
          <a:ln w="12700">
            <a:solidFill>
              <a:schemeClr val="accent1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and Two Column with Text + Da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ounded Rectangle 9"/>
          <p:cNvSpPr/>
          <p:nvPr/>
        </p:nvSpPr>
        <p:spPr bwMode="gray">
          <a:xfrm>
            <a:off x="457200" y="457200"/>
            <a:ext cx="3931920" cy="5943600"/>
          </a:xfrm>
          <a:prstGeom prst="roundRect">
            <a:avLst>
              <a:gd name="adj" fmla="val 4567"/>
            </a:avLst>
          </a:prstGeom>
          <a:solidFill>
            <a:srgbClr val="BA9D8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846320" y="1645920"/>
            <a:ext cx="4114800" cy="1005840"/>
          </a:xfrm>
        </p:spPr>
        <p:txBody>
          <a:bodyPr>
            <a:noAutofit/>
          </a:bodyPr>
          <a:lstStyle>
            <a:lvl1pPr>
              <a:defRPr>
                <a:solidFill>
                  <a:srgbClr val="BA9D80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846320" y="2834640"/>
            <a:ext cx="4114800" cy="3291840"/>
          </a:xfrm>
        </p:spPr>
        <p:txBody>
          <a:bodyPr>
            <a:noAutofit/>
          </a:bodyPr>
          <a:lstStyle>
            <a:lvl1pPr marL="61913" indent="-61913">
              <a:buClr>
                <a:srgbClr val="BA9D80"/>
              </a:buClr>
              <a:defRPr sz="2400">
                <a:solidFill>
                  <a:schemeClr val="tx2"/>
                </a:solidFill>
              </a:defRPr>
            </a:lvl1pPr>
            <a:lvl2pPr>
              <a:buClr>
                <a:srgbClr val="BA9D80"/>
              </a:buClr>
              <a:defRPr sz="2000"/>
            </a:lvl2pPr>
            <a:lvl3pPr>
              <a:buClr>
                <a:srgbClr val="BA9D80"/>
              </a:buClr>
              <a:defRPr sz="1800"/>
            </a:lvl3pPr>
            <a:lvl4pPr>
              <a:buClr>
                <a:srgbClr val="BA9D80"/>
              </a:buClr>
              <a:defRPr sz="1600"/>
            </a:lvl4pPr>
            <a:lvl5pPr>
              <a:buClr>
                <a:srgbClr val="BA9D80"/>
              </a:buCl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OMPANY CONFIDENTIAL  |  FOR INTERNAL USE ONLY  |  DO NOT COPY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2DCB2D-F3A1-47AC-A248-15826C4C808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548640" y="1005840"/>
            <a:ext cx="3931920" cy="1188720"/>
          </a:xfrm>
        </p:spPr>
        <p:txBody>
          <a:bodyPr anchor="b" anchorCtr="0">
            <a:noAutofit/>
          </a:bodyPr>
          <a:lstStyle>
            <a:lvl1pPr>
              <a:spcBef>
                <a:spcPts val="0"/>
              </a:spcBef>
              <a:defRPr sz="8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% here</a:t>
            </a:r>
            <a:endParaRPr lang="en-US" dirty="0"/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4"/>
          </p:nvPr>
        </p:nvSpPr>
        <p:spPr>
          <a:xfrm>
            <a:off x="548640" y="2194560"/>
            <a:ext cx="3749040" cy="822960"/>
          </a:xfrm>
        </p:spPr>
        <p:txBody>
          <a:bodyPr>
            <a:noAutofit/>
          </a:bodyPr>
          <a:lstStyle>
            <a:lvl1pPr>
              <a:defRPr sz="20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548640" y="3840480"/>
            <a:ext cx="3931920" cy="1188720"/>
          </a:xfrm>
        </p:spPr>
        <p:txBody>
          <a:bodyPr anchor="b" anchorCtr="0">
            <a:noAutofit/>
          </a:bodyPr>
          <a:lstStyle>
            <a:lvl1pPr>
              <a:spcBef>
                <a:spcPts val="0"/>
              </a:spcBef>
              <a:defRPr sz="8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% here</a:t>
            </a:r>
            <a:endParaRPr lang="en-US" dirty="0"/>
          </a:p>
        </p:txBody>
      </p:sp>
      <p:sp>
        <p:nvSpPr>
          <p:cNvPr id="17" name="Text Placeholder 14"/>
          <p:cNvSpPr>
            <a:spLocks noGrp="1"/>
          </p:cNvSpPr>
          <p:nvPr>
            <p:ph type="body" sz="quarter" idx="16"/>
          </p:nvPr>
        </p:nvSpPr>
        <p:spPr>
          <a:xfrm>
            <a:off x="548640" y="5029200"/>
            <a:ext cx="3749040" cy="822960"/>
          </a:xfrm>
        </p:spPr>
        <p:txBody>
          <a:bodyPr>
            <a:noAutofit/>
          </a:bodyPr>
          <a:lstStyle>
            <a:lvl1pPr>
              <a:defRPr sz="20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Freeform 5"/>
          <p:cNvSpPr>
            <a:spLocks/>
          </p:cNvSpPr>
          <p:nvPr/>
        </p:nvSpPr>
        <p:spPr bwMode="gray">
          <a:xfrm>
            <a:off x="4509294" y="412750"/>
            <a:ext cx="125413" cy="6032500"/>
          </a:xfrm>
          <a:custGeom>
            <a:avLst/>
            <a:gdLst/>
            <a:ahLst/>
            <a:cxnLst>
              <a:cxn ang="0">
                <a:pos x="80" y="2"/>
              </a:cxn>
              <a:cxn ang="0">
                <a:pos x="80" y="2"/>
              </a:cxn>
              <a:cxn ang="0">
                <a:pos x="44" y="36"/>
              </a:cxn>
              <a:cxn ang="0">
                <a:pos x="44" y="36"/>
              </a:cxn>
              <a:cxn ang="0">
                <a:pos x="37" y="91"/>
              </a:cxn>
              <a:cxn ang="0">
                <a:pos x="37" y="91"/>
              </a:cxn>
              <a:cxn ang="0">
                <a:pos x="37" y="3071"/>
              </a:cxn>
              <a:cxn ang="0">
                <a:pos x="37" y="6227"/>
              </a:cxn>
              <a:cxn ang="0">
                <a:pos x="31" y="6278"/>
              </a:cxn>
              <a:cxn ang="0">
                <a:pos x="30" y="6279"/>
              </a:cxn>
              <a:cxn ang="0">
                <a:pos x="1" y="6310"/>
              </a:cxn>
              <a:cxn ang="0">
                <a:pos x="0" y="6310"/>
              </a:cxn>
              <a:cxn ang="0">
                <a:pos x="0" y="6318"/>
              </a:cxn>
              <a:cxn ang="0">
                <a:pos x="1" y="6318"/>
              </a:cxn>
              <a:cxn ang="0">
                <a:pos x="35" y="6317"/>
              </a:cxn>
              <a:cxn ang="0">
                <a:pos x="70" y="6282"/>
              </a:cxn>
              <a:cxn ang="0">
                <a:pos x="70" y="6282"/>
              </a:cxn>
              <a:cxn ang="0">
                <a:pos x="78" y="6227"/>
              </a:cxn>
              <a:cxn ang="0">
                <a:pos x="77" y="6227"/>
              </a:cxn>
              <a:cxn ang="0">
                <a:pos x="77" y="3138"/>
              </a:cxn>
              <a:cxn ang="0">
                <a:pos x="77" y="91"/>
              </a:cxn>
              <a:cxn ang="0">
                <a:pos x="84" y="40"/>
              </a:cxn>
              <a:cxn ang="0">
                <a:pos x="84" y="39"/>
              </a:cxn>
              <a:cxn ang="0">
                <a:pos x="113" y="8"/>
              </a:cxn>
              <a:cxn ang="0">
                <a:pos x="115" y="8"/>
              </a:cxn>
              <a:cxn ang="0">
                <a:pos x="115" y="1"/>
              </a:cxn>
              <a:cxn ang="0">
                <a:pos x="113" y="1"/>
              </a:cxn>
              <a:cxn ang="0">
                <a:pos x="80" y="2"/>
              </a:cxn>
            </a:cxnLst>
            <a:rect l="0" t="0" r="r" b="b"/>
            <a:pathLst>
              <a:path w="115" h="6319">
                <a:moveTo>
                  <a:pt x="80" y="2"/>
                </a:moveTo>
                <a:lnTo>
                  <a:pt x="80" y="2"/>
                </a:lnTo>
                <a:cubicBezTo>
                  <a:pt x="61" y="4"/>
                  <a:pt x="51" y="13"/>
                  <a:pt x="44" y="36"/>
                </a:cubicBezTo>
                <a:lnTo>
                  <a:pt x="44" y="36"/>
                </a:lnTo>
                <a:cubicBezTo>
                  <a:pt x="41" y="48"/>
                  <a:pt x="39" y="66"/>
                  <a:pt x="37" y="91"/>
                </a:cubicBezTo>
                <a:lnTo>
                  <a:pt x="37" y="91"/>
                </a:lnTo>
                <a:lnTo>
                  <a:pt x="37" y="3071"/>
                </a:lnTo>
                <a:lnTo>
                  <a:pt x="37" y="6227"/>
                </a:lnTo>
                <a:cubicBezTo>
                  <a:pt x="36" y="6248"/>
                  <a:pt x="34" y="6267"/>
                  <a:pt x="31" y="6278"/>
                </a:cubicBezTo>
                <a:lnTo>
                  <a:pt x="30" y="6279"/>
                </a:lnTo>
                <a:cubicBezTo>
                  <a:pt x="27" y="6290"/>
                  <a:pt x="20" y="6311"/>
                  <a:pt x="1" y="6310"/>
                </a:cubicBezTo>
                <a:lnTo>
                  <a:pt x="0" y="6310"/>
                </a:lnTo>
                <a:lnTo>
                  <a:pt x="0" y="6318"/>
                </a:lnTo>
                <a:lnTo>
                  <a:pt x="1" y="6318"/>
                </a:lnTo>
                <a:cubicBezTo>
                  <a:pt x="11" y="6319"/>
                  <a:pt x="26" y="6318"/>
                  <a:pt x="35" y="6317"/>
                </a:cubicBezTo>
                <a:cubicBezTo>
                  <a:pt x="54" y="6314"/>
                  <a:pt x="63" y="6305"/>
                  <a:pt x="70" y="6282"/>
                </a:cubicBezTo>
                <a:lnTo>
                  <a:pt x="70" y="6282"/>
                </a:lnTo>
                <a:cubicBezTo>
                  <a:pt x="74" y="6271"/>
                  <a:pt x="76" y="6252"/>
                  <a:pt x="78" y="6227"/>
                </a:cubicBezTo>
                <a:lnTo>
                  <a:pt x="77" y="6227"/>
                </a:lnTo>
                <a:lnTo>
                  <a:pt x="77" y="3138"/>
                </a:lnTo>
                <a:lnTo>
                  <a:pt x="77" y="91"/>
                </a:lnTo>
                <a:cubicBezTo>
                  <a:pt x="79" y="70"/>
                  <a:pt x="81" y="52"/>
                  <a:pt x="84" y="40"/>
                </a:cubicBezTo>
                <a:lnTo>
                  <a:pt x="84" y="39"/>
                </a:lnTo>
                <a:cubicBezTo>
                  <a:pt x="88" y="29"/>
                  <a:pt x="95" y="7"/>
                  <a:pt x="113" y="8"/>
                </a:cubicBezTo>
                <a:lnTo>
                  <a:pt x="115" y="8"/>
                </a:lnTo>
                <a:lnTo>
                  <a:pt x="115" y="1"/>
                </a:lnTo>
                <a:lnTo>
                  <a:pt x="113" y="1"/>
                </a:lnTo>
                <a:cubicBezTo>
                  <a:pt x="103" y="0"/>
                  <a:pt x="88" y="1"/>
                  <a:pt x="80" y="2"/>
                </a:cubicBezTo>
                <a:close/>
              </a:path>
            </a:pathLst>
          </a:custGeom>
          <a:solidFill>
            <a:schemeClr val="accent1"/>
          </a:solidFill>
          <a:ln w="12700">
            <a:solidFill>
              <a:schemeClr val="accent1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qua Two Column with Text + Da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ounded Rectangle 9"/>
          <p:cNvSpPr/>
          <p:nvPr/>
        </p:nvSpPr>
        <p:spPr bwMode="gray">
          <a:xfrm>
            <a:off x="457200" y="457200"/>
            <a:ext cx="3931920" cy="5943600"/>
          </a:xfrm>
          <a:prstGeom prst="roundRect">
            <a:avLst>
              <a:gd name="adj" fmla="val 4567"/>
            </a:avLst>
          </a:prstGeom>
          <a:solidFill>
            <a:srgbClr val="5D967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846320" y="1645920"/>
            <a:ext cx="4114800" cy="1005840"/>
          </a:xfrm>
        </p:spPr>
        <p:txBody>
          <a:bodyPr>
            <a:noAutofit/>
          </a:bodyPr>
          <a:lstStyle>
            <a:lvl1pPr>
              <a:defRPr>
                <a:solidFill>
                  <a:srgbClr val="5D9674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846320" y="2834640"/>
            <a:ext cx="4114800" cy="3291840"/>
          </a:xfrm>
        </p:spPr>
        <p:txBody>
          <a:bodyPr>
            <a:noAutofit/>
          </a:bodyPr>
          <a:lstStyle>
            <a:lvl1pPr marL="61913" indent="-61913">
              <a:buClr>
                <a:srgbClr val="5D9674"/>
              </a:buClr>
              <a:defRPr sz="2400">
                <a:solidFill>
                  <a:schemeClr val="tx2"/>
                </a:solidFill>
              </a:defRPr>
            </a:lvl1pPr>
            <a:lvl2pPr>
              <a:buClr>
                <a:srgbClr val="5D9674"/>
              </a:buClr>
              <a:defRPr sz="2000"/>
            </a:lvl2pPr>
            <a:lvl3pPr>
              <a:buClr>
                <a:srgbClr val="5D9674"/>
              </a:buClr>
              <a:defRPr sz="1800"/>
            </a:lvl3pPr>
            <a:lvl4pPr>
              <a:buClr>
                <a:srgbClr val="5D9674"/>
              </a:buClr>
              <a:defRPr sz="1600"/>
            </a:lvl4pPr>
            <a:lvl5pPr>
              <a:buClr>
                <a:srgbClr val="5D9674"/>
              </a:buCl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OMPANY CONFIDENTIAL  |  FOR INTERNAL USE ONLY  |  DO NOT COPY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2DCB2D-F3A1-47AC-A248-15826C4C808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548640" y="1005840"/>
            <a:ext cx="3931920" cy="1188720"/>
          </a:xfrm>
        </p:spPr>
        <p:txBody>
          <a:bodyPr anchor="b" anchorCtr="0">
            <a:noAutofit/>
          </a:bodyPr>
          <a:lstStyle>
            <a:lvl1pPr>
              <a:spcBef>
                <a:spcPts val="0"/>
              </a:spcBef>
              <a:defRPr sz="8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% here</a:t>
            </a:r>
            <a:endParaRPr lang="en-US" dirty="0"/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4"/>
          </p:nvPr>
        </p:nvSpPr>
        <p:spPr>
          <a:xfrm>
            <a:off x="548640" y="2194560"/>
            <a:ext cx="3749040" cy="822960"/>
          </a:xfrm>
        </p:spPr>
        <p:txBody>
          <a:bodyPr>
            <a:noAutofit/>
          </a:bodyPr>
          <a:lstStyle>
            <a:lvl1pPr>
              <a:defRPr sz="20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548640" y="3840480"/>
            <a:ext cx="3931920" cy="1188720"/>
          </a:xfrm>
        </p:spPr>
        <p:txBody>
          <a:bodyPr anchor="b" anchorCtr="0">
            <a:noAutofit/>
          </a:bodyPr>
          <a:lstStyle>
            <a:lvl1pPr>
              <a:spcBef>
                <a:spcPts val="0"/>
              </a:spcBef>
              <a:defRPr sz="8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% here</a:t>
            </a:r>
            <a:endParaRPr lang="en-US" dirty="0"/>
          </a:p>
        </p:txBody>
      </p:sp>
      <p:sp>
        <p:nvSpPr>
          <p:cNvPr id="17" name="Text Placeholder 14"/>
          <p:cNvSpPr>
            <a:spLocks noGrp="1"/>
          </p:cNvSpPr>
          <p:nvPr>
            <p:ph type="body" sz="quarter" idx="16"/>
          </p:nvPr>
        </p:nvSpPr>
        <p:spPr>
          <a:xfrm>
            <a:off x="548640" y="5029200"/>
            <a:ext cx="3749040" cy="822960"/>
          </a:xfrm>
        </p:spPr>
        <p:txBody>
          <a:bodyPr>
            <a:noAutofit/>
          </a:bodyPr>
          <a:lstStyle>
            <a:lvl1pPr>
              <a:defRPr sz="20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Freeform 5"/>
          <p:cNvSpPr>
            <a:spLocks/>
          </p:cNvSpPr>
          <p:nvPr/>
        </p:nvSpPr>
        <p:spPr bwMode="gray">
          <a:xfrm>
            <a:off x="4509294" y="412750"/>
            <a:ext cx="125413" cy="6032500"/>
          </a:xfrm>
          <a:custGeom>
            <a:avLst/>
            <a:gdLst/>
            <a:ahLst/>
            <a:cxnLst>
              <a:cxn ang="0">
                <a:pos x="80" y="2"/>
              </a:cxn>
              <a:cxn ang="0">
                <a:pos x="80" y="2"/>
              </a:cxn>
              <a:cxn ang="0">
                <a:pos x="44" y="36"/>
              </a:cxn>
              <a:cxn ang="0">
                <a:pos x="44" y="36"/>
              </a:cxn>
              <a:cxn ang="0">
                <a:pos x="37" y="91"/>
              </a:cxn>
              <a:cxn ang="0">
                <a:pos x="37" y="91"/>
              </a:cxn>
              <a:cxn ang="0">
                <a:pos x="37" y="3071"/>
              </a:cxn>
              <a:cxn ang="0">
                <a:pos x="37" y="6227"/>
              </a:cxn>
              <a:cxn ang="0">
                <a:pos x="31" y="6278"/>
              </a:cxn>
              <a:cxn ang="0">
                <a:pos x="30" y="6279"/>
              </a:cxn>
              <a:cxn ang="0">
                <a:pos x="1" y="6310"/>
              </a:cxn>
              <a:cxn ang="0">
                <a:pos x="0" y="6310"/>
              </a:cxn>
              <a:cxn ang="0">
                <a:pos x="0" y="6318"/>
              </a:cxn>
              <a:cxn ang="0">
                <a:pos x="1" y="6318"/>
              </a:cxn>
              <a:cxn ang="0">
                <a:pos x="35" y="6317"/>
              </a:cxn>
              <a:cxn ang="0">
                <a:pos x="70" y="6282"/>
              </a:cxn>
              <a:cxn ang="0">
                <a:pos x="70" y="6282"/>
              </a:cxn>
              <a:cxn ang="0">
                <a:pos x="78" y="6227"/>
              </a:cxn>
              <a:cxn ang="0">
                <a:pos x="77" y="6227"/>
              </a:cxn>
              <a:cxn ang="0">
                <a:pos x="77" y="3138"/>
              </a:cxn>
              <a:cxn ang="0">
                <a:pos x="77" y="91"/>
              </a:cxn>
              <a:cxn ang="0">
                <a:pos x="84" y="40"/>
              </a:cxn>
              <a:cxn ang="0">
                <a:pos x="84" y="39"/>
              </a:cxn>
              <a:cxn ang="0">
                <a:pos x="113" y="8"/>
              </a:cxn>
              <a:cxn ang="0">
                <a:pos x="115" y="8"/>
              </a:cxn>
              <a:cxn ang="0">
                <a:pos x="115" y="1"/>
              </a:cxn>
              <a:cxn ang="0">
                <a:pos x="113" y="1"/>
              </a:cxn>
              <a:cxn ang="0">
                <a:pos x="80" y="2"/>
              </a:cxn>
            </a:cxnLst>
            <a:rect l="0" t="0" r="r" b="b"/>
            <a:pathLst>
              <a:path w="115" h="6319">
                <a:moveTo>
                  <a:pt x="80" y="2"/>
                </a:moveTo>
                <a:lnTo>
                  <a:pt x="80" y="2"/>
                </a:lnTo>
                <a:cubicBezTo>
                  <a:pt x="61" y="4"/>
                  <a:pt x="51" y="13"/>
                  <a:pt x="44" y="36"/>
                </a:cubicBezTo>
                <a:lnTo>
                  <a:pt x="44" y="36"/>
                </a:lnTo>
                <a:cubicBezTo>
                  <a:pt x="41" y="48"/>
                  <a:pt x="39" y="66"/>
                  <a:pt x="37" y="91"/>
                </a:cubicBezTo>
                <a:lnTo>
                  <a:pt x="37" y="91"/>
                </a:lnTo>
                <a:lnTo>
                  <a:pt x="37" y="3071"/>
                </a:lnTo>
                <a:lnTo>
                  <a:pt x="37" y="6227"/>
                </a:lnTo>
                <a:cubicBezTo>
                  <a:pt x="36" y="6248"/>
                  <a:pt x="34" y="6267"/>
                  <a:pt x="31" y="6278"/>
                </a:cubicBezTo>
                <a:lnTo>
                  <a:pt x="30" y="6279"/>
                </a:lnTo>
                <a:cubicBezTo>
                  <a:pt x="27" y="6290"/>
                  <a:pt x="20" y="6311"/>
                  <a:pt x="1" y="6310"/>
                </a:cubicBezTo>
                <a:lnTo>
                  <a:pt x="0" y="6310"/>
                </a:lnTo>
                <a:lnTo>
                  <a:pt x="0" y="6318"/>
                </a:lnTo>
                <a:lnTo>
                  <a:pt x="1" y="6318"/>
                </a:lnTo>
                <a:cubicBezTo>
                  <a:pt x="11" y="6319"/>
                  <a:pt x="26" y="6318"/>
                  <a:pt x="35" y="6317"/>
                </a:cubicBezTo>
                <a:cubicBezTo>
                  <a:pt x="54" y="6314"/>
                  <a:pt x="63" y="6305"/>
                  <a:pt x="70" y="6282"/>
                </a:cubicBezTo>
                <a:lnTo>
                  <a:pt x="70" y="6282"/>
                </a:lnTo>
                <a:cubicBezTo>
                  <a:pt x="74" y="6271"/>
                  <a:pt x="76" y="6252"/>
                  <a:pt x="78" y="6227"/>
                </a:cubicBezTo>
                <a:lnTo>
                  <a:pt x="77" y="6227"/>
                </a:lnTo>
                <a:lnTo>
                  <a:pt x="77" y="3138"/>
                </a:lnTo>
                <a:lnTo>
                  <a:pt x="77" y="91"/>
                </a:lnTo>
                <a:cubicBezTo>
                  <a:pt x="79" y="70"/>
                  <a:pt x="81" y="52"/>
                  <a:pt x="84" y="40"/>
                </a:cubicBezTo>
                <a:lnTo>
                  <a:pt x="84" y="39"/>
                </a:lnTo>
                <a:cubicBezTo>
                  <a:pt x="88" y="29"/>
                  <a:pt x="95" y="7"/>
                  <a:pt x="113" y="8"/>
                </a:cubicBezTo>
                <a:lnTo>
                  <a:pt x="115" y="8"/>
                </a:lnTo>
                <a:lnTo>
                  <a:pt x="115" y="1"/>
                </a:lnTo>
                <a:lnTo>
                  <a:pt x="113" y="1"/>
                </a:lnTo>
                <a:cubicBezTo>
                  <a:pt x="103" y="0"/>
                  <a:pt x="88" y="1"/>
                  <a:pt x="80" y="2"/>
                </a:cubicBezTo>
                <a:close/>
              </a:path>
            </a:pathLst>
          </a:custGeom>
          <a:solidFill>
            <a:schemeClr val="accent1"/>
          </a:solidFill>
          <a:ln w="12700">
            <a:solidFill>
              <a:schemeClr val="accent1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urple Two Column with Text + Da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ounded Rectangle 9"/>
          <p:cNvSpPr/>
          <p:nvPr/>
        </p:nvSpPr>
        <p:spPr bwMode="gray">
          <a:xfrm>
            <a:off x="457200" y="457200"/>
            <a:ext cx="3931920" cy="5943600"/>
          </a:xfrm>
          <a:prstGeom prst="roundRect">
            <a:avLst>
              <a:gd name="adj" fmla="val 4567"/>
            </a:avLst>
          </a:prstGeom>
          <a:solidFill>
            <a:srgbClr val="815E9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846320" y="1645920"/>
            <a:ext cx="4114800" cy="1005840"/>
          </a:xfrm>
        </p:spPr>
        <p:txBody>
          <a:bodyPr>
            <a:noAutofit/>
          </a:bodyPr>
          <a:lstStyle>
            <a:lvl1pPr>
              <a:defRPr>
                <a:solidFill>
                  <a:srgbClr val="815E90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846320" y="2834640"/>
            <a:ext cx="4114800" cy="3291840"/>
          </a:xfrm>
        </p:spPr>
        <p:txBody>
          <a:bodyPr>
            <a:noAutofit/>
          </a:bodyPr>
          <a:lstStyle>
            <a:lvl1pPr marL="61913" indent="-61913">
              <a:buClr>
                <a:srgbClr val="815E90"/>
              </a:buClr>
              <a:defRPr sz="2400">
                <a:solidFill>
                  <a:schemeClr val="tx2"/>
                </a:solidFill>
              </a:defRPr>
            </a:lvl1pPr>
            <a:lvl2pPr>
              <a:buClr>
                <a:srgbClr val="815E90"/>
              </a:buClr>
              <a:defRPr sz="2000"/>
            </a:lvl2pPr>
            <a:lvl3pPr>
              <a:buClr>
                <a:srgbClr val="815E90"/>
              </a:buClr>
              <a:defRPr sz="1800"/>
            </a:lvl3pPr>
            <a:lvl4pPr>
              <a:buClr>
                <a:srgbClr val="815E90"/>
              </a:buClr>
              <a:defRPr sz="1600"/>
            </a:lvl4pPr>
            <a:lvl5pPr>
              <a:buClr>
                <a:srgbClr val="815E90"/>
              </a:buCl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OMPANY CONFIDENTIAL  |  FOR INTERNAL USE ONLY  |  DO NOT COPY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2DCB2D-F3A1-47AC-A248-15826C4C808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548640" y="1005840"/>
            <a:ext cx="3931920" cy="1188720"/>
          </a:xfrm>
        </p:spPr>
        <p:txBody>
          <a:bodyPr anchor="b" anchorCtr="0">
            <a:noAutofit/>
          </a:bodyPr>
          <a:lstStyle>
            <a:lvl1pPr>
              <a:spcBef>
                <a:spcPts val="0"/>
              </a:spcBef>
              <a:defRPr sz="8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% here</a:t>
            </a:r>
            <a:endParaRPr lang="en-US" dirty="0"/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4"/>
          </p:nvPr>
        </p:nvSpPr>
        <p:spPr>
          <a:xfrm>
            <a:off x="548640" y="2194560"/>
            <a:ext cx="3749040" cy="822960"/>
          </a:xfrm>
        </p:spPr>
        <p:txBody>
          <a:bodyPr>
            <a:noAutofit/>
          </a:bodyPr>
          <a:lstStyle>
            <a:lvl1pPr>
              <a:defRPr sz="20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548640" y="3840480"/>
            <a:ext cx="3931920" cy="1188720"/>
          </a:xfrm>
        </p:spPr>
        <p:txBody>
          <a:bodyPr anchor="b" anchorCtr="0">
            <a:noAutofit/>
          </a:bodyPr>
          <a:lstStyle>
            <a:lvl1pPr>
              <a:spcBef>
                <a:spcPts val="0"/>
              </a:spcBef>
              <a:defRPr sz="8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% here</a:t>
            </a:r>
            <a:endParaRPr lang="en-US" dirty="0"/>
          </a:p>
        </p:txBody>
      </p:sp>
      <p:sp>
        <p:nvSpPr>
          <p:cNvPr id="17" name="Text Placeholder 14"/>
          <p:cNvSpPr>
            <a:spLocks noGrp="1"/>
          </p:cNvSpPr>
          <p:nvPr>
            <p:ph type="body" sz="quarter" idx="16"/>
          </p:nvPr>
        </p:nvSpPr>
        <p:spPr>
          <a:xfrm>
            <a:off x="548640" y="5029200"/>
            <a:ext cx="3749040" cy="822960"/>
          </a:xfrm>
        </p:spPr>
        <p:txBody>
          <a:bodyPr>
            <a:noAutofit/>
          </a:bodyPr>
          <a:lstStyle>
            <a:lvl1pPr>
              <a:defRPr sz="20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Freeform 5"/>
          <p:cNvSpPr>
            <a:spLocks/>
          </p:cNvSpPr>
          <p:nvPr/>
        </p:nvSpPr>
        <p:spPr bwMode="gray">
          <a:xfrm>
            <a:off x="4509294" y="412750"/>
            <a:ext cx="125413" cy="6032500"/>
          </a:xfrm>
          <a:custGeom>
            <a:avLst/>
            <a:gdLst/>
            <a:ahLst/>
            <a:cxnLst>
              <a:cxn ang="0">
                <a:pos x="80" y="2"/>
              </a:cxn>
              <a:cxn ang="0">
                <a:pos x="80" y="2"/>
              </a:cxn>
              <a:cxn ang="0">
                <a:pos x="44" y="36"/>
              </a:cxn>
              <a:cxn ang="0">
                <a:pos x="44" y="36"/>
              </a:cxn>
              <a:cxn ang="0">
                <a:pos x="37" y="91"/>
              </a:cxn>
              <a:cxn ang="0">
                <a:pos x="37" y="91"/>
              </a:cxn>
              <a:cxn ang="0">
                <a:pos x="37" y="3071"/>
              </a:cxn>
              <a:cxn ang="0">
                <a:pos x="37" y="6227"/>
              </a:cxn>
              <a:cxn ang="0">
                <a:pos x="31" y="6278"/>
              </a:cxn>
              <a:cxn ang="0">
                <a:pos x="30" y="6279"/>
              </a:cxn>
              <a:cxn ang="0">
                <a:pos x="1" y="6310"/>
              </a:cxn>
              <a:cxn ang="0">
                <a:pos x="0" y="6310"/>
              </a:cxn>
              <a:cxn ang="0">
                <a:pos x="0" y="6318"/>
              </a:cxn>
              <a:cxn ang="0">
                <a:pos x="1" y="6318"/>
              </a:cxn>
              <a:cxn ang="0">
                <a:pos x="35" y="6317"/>
              </a:cxn>
              <a:cxn ang="0">
                <a:pos x="70" y="6282"/>
              </a:cxn>
              <a:cxn ang="0">
                <a:pos x="70" y="6282"/>
              </a:cxn>
              <a:cxn ang="0">
                <a:pos x="78" y="6227"/>
              </a:cxn>
              <a:cxn ang="0">
                <a:pos x="77" y="6227"/>
              </a:cxn>
              <a:cxn ang="0">
                <a:pos x="77" y="3138"/>
              </a:cxn>
              <a:cxn ang="0">
                <a:pos x="77" y="91"/>
              </a:cxn>
              <a:cxn ang="0">
                <a:pos x="84" y="40"/>
              </a:cxn>
              <a:cxn ang="0">
                <a:pos x="84" y="39"/>
              </a:cxn>
              <a:cxn ang="0">
                <a:pos x="113" y="8"/>
              </a:cxn>
              <a:cxn ang="0">
                <a:pos x="115" y="8"/>
              </a:cxn>
              <a:cxn ang="0">
                <a:pos x="115" y="1"/>
              </a:cxn>
              <a:cxn ang="0">
                <a:pos x="113" y="1"/>
              </a:cxn>
              <a:cxn ang="0">
                <a:pos x="80" y="2"/>
              </a:cxn>
            </a:cxnLst>
            <a:rect l="0" t="0" r="r" b="b"/>
            <a:pathLst>
              <a:path w="115" h="6319">
                <a:moveTo>
                  <a:pt x="80" y="2"/>
                </a:moveTo>
                <a:lnTo>
                  <a:pt x="80" y="2"/>
                </a:lnTo>
                <a:cubicBezTo>
                  <a:pt x="61" y="4"/>
                  <a:pt x="51" y="13"/>
                  <a:pt x="44" y="36"/>
                </a:cubicBezTo>
                <a:lnTo>
                  <a:pt x="44" y="36"/>
                </a:lnTo>
                <a:cubicBezTo>
                  <a:pt x="41" y="48"/>
                  <a:pt x="39" y="66"/>
                  <a:pt x="37" y="91"/>
                </a:cubicBezTo>
                <a:lnTo>
                  <a:pt x="37" y="91"/>
                </a:lnTo>
                <a:lnTo>
                  <a:pt x="37" y="3071"/>
                </a:lnTo>
                <a:lnTo>
                  <a:pt x="37" y="6227"/>
                </a:lnTo>
                <a:cubicBezTo>
                  <a:pt x="36" y="6248"/>
                  <a:pt x="34" y="6267"/>
                  <a:pt x="31" y="6278"/>
                </a:cubicBezTo>
                <a:lnTo>
                  <a:pt x="30" y="6279"/>
                </a:lnTo>
                <a:cubicBezTo>
                  <a:pt x="27" y="6290"/>
                  <a:pt x="20" y="6311"/>
                  <a:pt x="1" y="6310"/>
                </a:cubicBezTo>
                <a:lnTo>
                  <a:pt x="0" y="6310"/>
                </a:lnTo>
                <a:lnTo>
                  <a:pt x="0" y="6318"/>
                </a:lnTo>
                <a:lnTo>
                  <a:pt x="1" y="6318"/>
                </a:lnTo>
                <a:cubicBezTo>
                  <a:pt x="11" y="6319"/>
                  <a:pt x="26" y="6318"/>
                  <a:pt x="35" y="6317"/>
                </a:cubicBezTo>
                <a:cubicBezTo>
                  <a:pt x="54" y="6314"/>
                  <a:pt x="63" y="6305"/>
                  <a:pt x="70" y="6282"/>
                </a:cubicBezTo>
                <a:lnTo>
                  <a:pt x="70" y="6282"/>
                </a:lnTo>
                <a:cubicBezTo>
                  <a:pt x="74" y="6271"/>
                  <a:pt x="76" y="6252"/>
                  <a:pt x="78" y="6227"/>
                </a:cubicBezTo>
                <a:lnTo>
                  <a:pt x="77" y="6227"/>
                </a:lnTo>
                <a:lnTo>
                  <a:pt x="77" y="3138"/>
                </a:lnTo>
                <a:lnTo>
                  <a:pt x="77" y="91"/>
                </a:lnTo>
                <a:cubicBezTo>
                  <a:pt x="79" y="70"/>
                  <a:pt x="81" y="52"/>
                  <a:pt x="84" y="40"/>
                </a:cubicBezTo>
                <a:lnTo>
                  <a:pt x="84" y="39"/>
                </a:lnTo>
                <a:cubicBezTo>
                  <a:pt x="88" y="29"/>
                  <a:pt x="95" y="7"/>
                  <a:pt x="113" y="8"/>
                </a:cubicBezTo>
                <a:lnTo>
                  <a:pt x="115" y="8"/>
                </a:lnTo>
                <a:lnTo>
                  <a:pt x="115" y="1"/>
                </a:lnTo>
                <a:lnTo>
                  <a:pt x="113" y="1"/>
                </a:lnTo>
                <a:cubicBezTo>
                  <a:pt x="103" y="0"/>
                  <a:pt x="88" y="1"/>
                  <a:pt x="80" y="2"/>
                </a:cubicBezTo>
                <a:close/>
              </a:path>
            </a:pathLst>
          </a:custGeom>
          <a:solidFill>
            <a:schemeClr val="accent1"/>
          </a:solidFill>
          <a:ln w="12700">
            <a:solidFill>
              <a:schemeClr val="accent1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wo Column with Text + Fig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ounded Rectangle 9"/>
          <p:cNvSpPr/>
          <p:nvPr/>
        </p:nvSpPr>
        <p:spPr bwMode="gray">
          <a:xfrm>
            <a:off x="4754880" y="457200"/>
            <a:ext cx="3931920" cy="5943600"/>
          </a:xfrm>
          <a:prstGeom prst="roundRect">
            <a:avLst>
              <a:gd name="adj" fmla="val 4567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57200" y="1645920"/>
            <a:ext cx="3977640" cy="1005840"/>
          </a:xfrm>
        </p:spPr>
        <p:txBody>
          <a:bodyPr>
            <a:noAutofit/>
          </a:bodyPr>
          <a:lstStyle>
            <a:lvl1pPr marL="53975" indent="0"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834640"/>
            <a:ext cx="3977640" cy="3291840"/>
          </a:xfrm>
        </p:spPr>
        <p:txBody>
          <a:bodyPr>
            <a:noAutofit/>
          </a:bodyPr>
          <a:lstStyle>
            <a:lvl1pPr marL="109538" indent="-109538">
              <a:buClr>
                <a:schemeClr val="accent1"/>
              </a:buClr>
              <a:defRPr sz="2400">
                <a:solidFill>
                  <a:schemeClr val="tx2"/>
                </a:solidFill>
              </a:defRPr>
            </a:lvl1pPr>
            <a:lvl2pPr>
              <a:buClr>
                <a:schemeClr val="accent1"/>
              </a:buClr>
              <a:defRPr sz="2000"/>
            </a:lvl2pPr>
            <a:lvl3pPr>
              <a:buClr>
                <a:schemeClr val="accent1"/>
              </a:buClr>
              <a:defRPr sz="1800"/>
            </a:lvl3pPr>
            <a:lvl4pPr>
              <a:buClr>
                <a:schemeClr val="accent1"/>
              </a:buClr>
              <a:defRPr sz="1600"/>
            </a:lvl4pPr>
            <a:lvl5pPr>
              <a:buClr>
                <a:schemeClr val="accent1"/>
              </a:buCl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OMPANY CONFIDENTIAL  |  FOR INTERNAL USE ONLY  |  DO NOT COPY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2DCB2D-F3A1-47AC-A248-15826C4C808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Freeform 5"/>
          <p:cNvSpPr>
            <a:spLocks/>
          </p:cNvSpPr>
          <p:nvPr/>
        </p:nvSpPr>
        <p:spPr bwMode="gray">
          <a:xfrm>
            <a:off x="4509294" y="412750"/>
            <a:ext cx="125413" cy="6032500"/>
          </a:xfrm>
          <a:custGeom>
            <a:avLst/>
            <a:gdLst/>
            <a:ahLst/>
            <a:cxnLst>
              <a:cxn ang="0">
                <a:pos x="80" y="2"/>
              </a:cxn>
              <a:cxn ang="0">
                <a:pos x="80" y="2"/>
              </a:cxn>
              <a:cxn ang="0">
                <a:pos x="44" y="36"/>
              </a:cxn>
              <a:cxn ang="0">
                <a:pos x="44" y="36"/>
              </a:cxn>
              <a:cxn ang="0">
                <a:pos x="37" y="91"/>
              </a:cxn>
              <a:cxn ang="0">
                <a:pos x="37" y="91"/>
              </a:cxn>
              <a:cxn ang="0">
                <a:pos x="37" y="3071"/>
              </a:cxn>
              <a:cxn ang="0">
                <a:pos x="37" y="6227"/>
              </a:cxn>
              <a:cxn ang="0">
                <a:pos x="31" y="6278"/>
              </a:cxn>
              <a:cxn ang="0">
                <a:pos x="30" y="6279"/>
              </a:cxn>
              <a:cxn ang="0">
                <a:pos x="1" y="6310"/>
              </a:cxn>
              <a:cxn ang="0">
                <a:pos x="0" y="6310"/>
              </a:cxn>
              <a:cxn ang="0">
                <a:pos x="0" y="6318"/>
              </a:cxn>
              <a:cxn ang="0">
                <a:pos x="1" y="6318"/>
              </a:cxn>
              <a:cxn ang="0">
                <a:pos x="35" y="6317"/>
              </a:cxn>
              <a:cxn ang="0">
                <a:pos x="70" y="6282"/>
              </a:cxn>
              <a:cxn ang="0">
                <a:pos x="70" y="6282"/>
              </a:cxn>
              <a:cxn ang="0">
                <a:pos x="78" y="6227"/>
              </a:cxn>
              <a:cxn ang="0">
                <a:pos x="77" y="6227"/>
              </a:cxn>
              <a:cxn ang="0">
                <a:pos x="77" y="3138"/>
              </a:cxn>
              <a:cxn ang="0">
                <a:pos x="77" y="91"/>
              </a:cxn>
              <a:cxn ang="0">
                <a:pos x="84" y="40"/>
              </a:cxn>
              <a:cxn ang="0">
                <a:pos x="84" y="39"/>
              </a:cxn>
              <a:cxn ang="0">
                <a:pos x="113" y="8"/>
              </a:cxn>
              <a:cxn ang="0">
                <a:pos x="115" y="8"/>
              </a:cxn>
              <a:cxn ang="0">
                <a:pos x="115" y="1"/>
              </a:cxn>
              <a:cxn ang="0">
                <a:pos x="113" y="1"/>
              </a:cxn>
              <a:cxn ang="0">
                <a:pos x="80" y="2"/>
              </a:cxn>
            </a:cxnLst>
            <a:rect l="0" t="0" r="r" b="b"/>
            <a:pathLst>
              <a:path w="115" h="6319">
                <a:moveTo>
                  <a:pt x="80" y="2"/>
                </a:moveTo>
                <a:lnTo>
                  <a:pt x="80" y="2"/>
                </a:lnTo>
                <a:cubicBezTo>
                  <a:pt x="61" y="4"/>
                  <a:pt x="51" y="13"/>
                  <a:pt x="44" y="36"/>
                </a:cubicBezTo>
                <a:lnTo>
                  <a:pt x="44" y="36"/>
                </a:lnTo>
                <a:cubicBezTo>
                  <a:pt x="41" y="48"/>
                  <a:pt x="39" y="66"/>
                  <a:pt x="37" y="91"/>
                </a:cubicBezTo>
                <a:lnTo>
                  <a:pt x="37" y="91"/>
                </a:lnTo>
                <a:lnTo>
                  <a:pt x="37" y="3071"/>
                </a:lnTo>
                <a:lnTo>
                  <a:pt x="37" y="6227"/>
                </a:lnTo>
                <a:cubicBezTo>
                  <a:pt x="36" y="6248"/>
                  <a:pt x="34" y="6267"/>
                  <a:pt x="31" y="6278"/>
                </a:cubicBezTo>
                <a:lnTo>
                  <a:pt x="30" y="6279"/>
                </a:lnTo>
                <a:cubicBezTo>
                  <a:pt x="27" y="6290"/>
                  <a:pt x="20" y="6311"/>
                  <a:pt x="1" y="6310"/>
                </a:cubicBezTo>
                <a:lnTo>
                  <a:pt x="0" y="6310"/>
                </a:lnTo>
                <a:lnTo>
                  <a:pt x="0" y="6318"/>
                </a:lnTo>
                <a:lnTo>
                  <a:pt x="1" y="6318"/>
                </a:lnTo>
                <a:cubicBezTo>
                  <a:pt x="11" y="6319"/>
                  <a:pt x="26" y="6318"/>
                  <a:pt x="35" y="6317"/>
                </a:cubicBezTo>
                <a:cubicBezTo>
                  <a:pt x="54" y="6314"/>
                  <a:pt x="63" y="6305"/>
                  <a:pt x="70" y="6282"/>
                </a:cubicBezTo>
                <a:lnTo>
                  <a:pt x="70" y="6282"/>
                </a:lnTo>
                <a:cubicBezTo>
                  <a:pt x="74" y="6271"/>
                  <a:pt x="76" y="6252"/>
                  <a:pt x="78" y="6227"/>
                </a:cubicBezTo>
                <a:lnTo>
                  <a:pt x="77" y="6227"/>
                </a:lnTo>
                <a:lnTo>
                  <a:pt x="77" y="3138"/>
                </a:lnTo>
                <a:lnTo>
                  <a:pt x="77" y="91"/>
                </a:lnTo>
                <a:cubicBezTo>
                  <a:pt x="79" y="70"/>
                  <a:pt x="81" y="52"/>
                  <a:pt x="84" y="40"/>
                </a:cubicBezTo>
                <a:lnTo>
                  <a:pt x="84" y="39"/>
                </a:lnTo>
                <a:cubicBezTo>
                  <a:pt x="88" y="29"/>
                  <a:pt x="95" y="7"/>
                  <a:pt x="113" y="8"/>
                </a:cubicBezTo>
                <a:lnTo>
                  <a:pt x="115" y="8"/>
                </a:lnTo>
                <a:lnTo>
                  <a:pt x="115" y="1"/>
                </a:lnTo>
                <a:lnTo>
                  <a:pt x="113" y="1"/>
                </a:lnTo>
                <a:cubicBezTo>
                  <a:pt x="103" y="0"/>
                  <a:pt x="88" y="1"/>
                  <a:pt x="80" y="2"/>
                </a:cubicBezTo>
                <a:close/>
              </a:path>
            </a:pathLst>
          </a:custGeom>
          <a:solidFill>
            <a:schemeClr val="accent1"/>
          </a:solidFill>
          <a:ln w="12700">
            <a:solidFill>
              <a:schemeClr val="accent1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3"/>
          </p:nvPr>
        </p:nvSpPr>
        <p:spPr bwMode="gray">
          <a:xfrm>
            <a:off x="4754880" y="4572000"/>
            <a:ext cx="3840480" cy="1508760"/>
          </a:xfrm>
        </p:spPr>
        <p:txBody>
          <a:bodyPr>
            <a:noAutofit/>
          </a:bodyPr>
          <a:lstStyle>
            <a:lvl1pPr>
              <a:defRPr sz="20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srgbClr val="000000">
                    <a:lumMod val="50000"/>
                    <a:lumOff val="50000"/>
                  </a:srgbClr>
                </a:solidFill>
              </a:rPr>
              <a:t>COMPANY CONFIDENTIAL  |  FOR INTERNAL USE ONLY  |  DO NOT COPY</a:t>
            </a:r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2DCB2D-F3A1-47AC-A248-15826C4C808C}" type="slidenum">
              <a:rPr 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‹#›</a:t>
            </a:fld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122737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 first line 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236538" indent="-236538">
              <a:buSzPct val="100000"/>
              <a:buFont typeface="Arial" panose="020B0604020202020204" pitchFamily="34" charset="0"/>
              <a:buChar char="•"/>
              <a:defRPr/>
            </a:lvl1pPr>
            <a:lvl2pPr marL="576263" indent="-182563">
              <a:buFont typeface="Calibri" panose="020F0502020204030204" pitchFamily="34" charset="0"/>
              <a:buChar char="̶"/>
              <a:defRPr/>
            </a:lvl2pPr>
            <a:lvl3pPr marL="1025525" indent="-228600">
              <a:buFont typeface="Arial" panose="020B0604020202020204" pitchFamily="34" charset="0"/>
              <a:buChar char="•"/>
              <a:defRPr/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OMPANY CONFIDENTIAL  |  FOR INTERNAL USE ONLY  |  DO NOT COPY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2DCB2D-F3A1-47AC-A248-15826C4C808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01874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463040"/>
            <a:ext cx="3977640" cy="4525963"/>
          </a:xfrm>
        </p:spPr>
        <p:txBody>
          <a:bodyPr>
            <a:noAutofit/>
          </a:bodyPr>
          <a:lstStyle>
            <a:lvl1pPr marL="61913" indent="-61913"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09160" y="1463040"/>
            <a:ext cx="3977640" cy="4525963"/>
          </a:xfrm>
        </p:spPr>
        <p:txBody>
          <a:bodyPr>
            <a:no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OMPANY CONFIDENTIAL  |  FOR INTERNAL USE ONLY  |  DO NOT COPY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2DCB2D-F3A1-47AC-A248-15826C4C808C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on Lef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463040"/>
            <a:ext cx="3977640" cy="4525963"/>
          </a:xfrm>
        </p:spPr>
        <p:txBody>
          <a:bodyPr>
            <a:noAutofit/>
          </a:bodyPr>
          <a:lstStyle>
            <a:lvl1pPr marL="61913" indent="-61913"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OMPANY CONFIDENTIAL  |  FOR INTERNAL USE ONLY  |  DO NOT COPY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2DCB2D-F3A1-47AC-A248-15826C4C808C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on Righ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09160" y="1463040"/>
            <a:ext cx="3977640" cy="4525963"/>
          </a:xfrm>
        </p:spPr>
        <p:txBody>
          <a:bodyPr>
            <a:noAutofit/>
          </a:bodyPr>
          <a:lstStyle>
            <a:lvl1pPr marL="112713" indent="-112713"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OMPANY CONFIDENTIAL  |  FOR INTERNAL USE ONLY  |  DO NOT COPY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2DCB2D-F3A1-47AC-A248-15826C4C808C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OMPANY CONFIDENTIAL  |  FOR INTERNAL USE ONLY  |  DO NOT COPY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2DCB2D-F3A1-47AC-A248-15826C4C808C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OMPANY CONFIDENTIAL  |  FOR INTERNAL USE ONLY  |  DO NOT COPY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2DCB2D-F3A1-47AC-A248-15826C4C808C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1644" y="6442431"/>
            <a:ext cx="966847" cy="263169"/>
          </a:xfrm>
          <a:prstGeom prst="rect">
            <a:avLst/>
          </a:prstGeom>
        </p:spPr>
      </p:pic>
      <p:sp>
        <p:nvSpPr>
          <p:cNvPr id="8" name="Freeform 5"/>
          <p:cNvSpPr>
            <a:spLocks/>
          </p:cNvSpPr>
          <p:nvPr userDrawn="1"/>
        </p:nvSpPr>
        <p:spPr bwMode="gray">
          <a:xfrm>
            <a:off x="451644" y="6153804"/>
            <a:ext cx="8240713" cy="123825"/>
          </a:xfrm>
          <a:custGeom>
            <a:avLst/>
            <a:gdLst/>
            <a:ahLst/>
            <a:cxnLst>
              <a:cxn ang="0">
                <a:pos x="8638" y="79"/>
              </a:cxn>
              <a:cxn ang="0">
                <a:pos x="8638" y="79"/>
              </a:cxn>
              <a:cxn ang="0">
                <a:pos x="8604" y="44"/>
              </a:cxn>
              <a:cxn ang="0">
                <a:pos x="8604" y="44"/>
              </a:cxn>
              <a:cxn ang="0">
                <a:pos x="8548" y="36"/>
              </a:cxn>
              <a:cxn ang="0">
                <a:pos x="8548" y="37"/>
              </a:cxn>
              <a:cxn ang="0">
                <a:pos x="91" y="37"/>
              </a:cxn>
              <a:cxn ang="0">
                <a:pos x="40" y="30"/>
              </a:cxn>
              <a:cxn ang="0">
                <a:pos x="39" y="30"/>
              </a:cxn>
              <a:cxn ang="0">
                <a:pos x="8" y="1"/>
              </a:cxn>
              <a:cxn ang="0">
                <a:pos x="8" y="0"/>
              </a:cxn>
              <a:cxn ang="0">
                <a:pos x="0" y="0"/>
              </a:cxn>
              <a:cxn ang="0">
                <a:pos x="0" y="1"/>
              </a:cxn>
              <a:cxn ang="0">
                <a:pos x="1" y="34"/>
              </a:cxn>
              <a:cxn ang="0">
                <a:pos x="36" y="70"/>
              </a:cxn>
              <a:cxn ang="0">
                <a:pos x="36" y="70"/>
              </a:cxn>
              <a:cxn ang="0">
                <a:pos x="91" y="77"/>
              </a:cxn>
              <a:cxn ang="0">
                <a:pos x="91" y="77"/>
              </a:cxn>
              <a:cxn ang="0">
                <a:pos x="8548" y="77"/>
              </a:cxn>
              <a:cxn ang="0">
                <a:pos x="8599" y="83"/>
              </a:cxn>
              <a:cxn ang="0">
                <a:pos x="8601" y="84"/>
              </a:cxn>
              <a:cxn ang="0">
                <a:pos x="8632" y="113"/>
              </a:cxn>
              <a:cxn ang="0">
                <a:pos x="8632" y="114"/>
              </a:cxn>
              <a:cxn ang="0">
                <a:pos x="8640" y="114"/>
              </a:cxn>
              <a:cxn ang="0">
                <a:pos x="8640" y="113"/>
              </a:cxn>
              <a:cxn ang="0">
                <a:pos x="8638" y="79"/>
              </a:cxn>
            </a:cxnLst>
            <a:rect l="0" t="0" r="r" b="b"/>
            <a:pathLst>
              <a:path w="8640" h="114">
                <a:moveTo>
                  <a:pt x="8638" y="79"/>
                </a:moveTo>
                <a:lnTo>
                  <a:pt x="8638" y="79"/>
                </a:lnTo>
                <a:cubicBezTo>
                  <a:pt x="8635" y="60"/>
                  <a:pt x="8626" y="51"/>
                  <a:pt x="8604" y="44"/>
                </a:cubicBezTo>
                <a:lnTo>
                  <a:pt x="8604" y="44"/>
                </a:lnTo>
                <a:cubicBezTo>
                  <a:pt x="8592" y="40"/>
                  <a:pt x="8573" y="38"/>
                  <a:pt x="8548" y="36"/>
                </a:cubicBezTo>
                <a:lnTo>
                  <a:pt x="8548" y="37"/>
                </a:lnTo>
                <a:lnTo>
                  <a:pt x="91" y="37"/>
                </a:lnTo>
                <a:cubicBezTo>
                  <a:pt x="70" y="35"/>
                  <a:pt x="51" y="33"/>
                  <a:pt x="40" y="30"/>
                </a:cubicBezTo>
                <a:lnTo>
                  <a:pt x="39" y="30"/>
                </a:lnTo>
                <a:cubicBezTo>
                  <a:pt x="28" y="26"/>
                  <a:pt x="7" y="19"/>
                  <a:pt x="8" y="1"/>
                </a:cubicBezTo>
                <a:lnTo>
                  <a:pt x="8" y="0"/>
                </a:lnTo>
                <a:lnTo>
                  <a:pt x="0" y="0"/>
                </a:lnTo>
                <a:lnTo>
                  <a:pt x="0" y="1"/>
                </a:lnTo>
                <a:cubicBezTo>
                  <a:pt x="0" y="11"/>
                  <a:pt x="0" y="26"/>
                  <a:pt x="1" y="34"/>
                </a:cubicBezTo>
                <a:cubicBezTo>
                  <a:pt x="4" y="53"/>
                  <a:pt x="13" y="63"/>
                  <a:pt x="36" y="70"/>
                </a:cubicBezTo>
                <a:lnTo>
                  <a:pt x="36" y="70"/>
                </a:lnTo>
                <a:cubicBezTo>
                  <a:pt x="47" y="73"/>
                  <a:pt x="66" y="75"/>
                  <a:pt x="91" y="77"/>
                </a:cubicBezTo>
                <a:lnTo>
                  <a:pt x="91" y="77"/>
                </a:lnTo>
                <a:lnTo>
                  <a:pt x="8548" y="77"/>
                </a:lnTo>
                <a:cubicBezTo>
                  <a:pt x="8570" y="78"/>
                  <a:pt x="8588" y="80"/>
                  <a:pt x="8599" y="83"/>
                </a:cubicBezTo>
                <a:lnTo>
                  <a:pt x="8601" y="84"/>
                </a:lnTo>
                <a:cubicBezTo>
                  <a:pt x="8611" y="87"/>
                  <a:pt x="8632" y="94"/>
                  <a:pt x="8632" y="113"/>
                </a:cubicBezTo>
                <a:lnTo>
                  <a:pt x="8632" y="114"/>
                </a:lnTo>
                <a:lnTo>
                  <a:pt x="8640" y="114"/>
                </a:lnTo>
                <a:lnTo>
                  <a:pt x="8640" y="113"/>
                </a:lnTo>
                <a:cubicBezTo>
                  <a:pt x="8640" y="103"/>
                  <a:pt x="8639" y="87"/>
                  <a:pt x="8638" y="79"/>
                </a:cubicBezTo>
                <a:close/>
              </a:path>
            </a:pathLst>
          </a:custGeom>
          <a:solidFill>
            <a:schemeClr val="bg1">
              <a:lumMod val="65000"/>
            </a:schemeClr>
          </a:solidFill>
          <a:ln w="1270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38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.bin"/><Relationship Id="rId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57200" y="73152"/>
            <a:ext cx="8229600" cy="1005840"/>
          </a:xfrm>
          <a:prstGeom prst="rect">
            <a:avLst/>
          </a:prstGeom>
        </p:spPr>
        <p:txBody>
          <a:bodyPr vert="horz" lIns="137160" tIns="45720" rIns="91440" bIns="45720" rtlCol="0" anchor="b" anchorCtr="0">
            <a:no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57200" y="146304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3124200" y="6567101"/>
            <a:ext cx="5105400" cy="13849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sz="9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smtClean="0"/>
              <a:t>COMPANY CONFIDENTIAL  |  FOR INTERNAL USE ONLY  |  DO NOT COPY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8305800" y="6567101"/>
            <a:ext cx="381000" cy="13849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sz="9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1A2DCB2D-F3A1-47AC-A248-15826C4C808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Freeform 5"/>
          <p:cNvSpPr>
            <a:spLocks/>
          </p:cNvSpPr>
          <p:nvPr userDrawn="1"/>
        </p:nvSpPr>
        <p:spPr bwMode="gray">
          <a:xfrm>
            <a:off x="451644" y="1125895"/>
            <a:ext cx="8240713" cy="123825"/>
          </a:xfrm>
          <a:custGeom>
            <a:avLst/>
            <a:gdLst/>
            <a:ahLst/>
            <a:cxnLst>
              <a:cxn ang="0">
                <a:pos x="8638" y="79"/>
              </a:cxn>
              <a:cxn ang="0">
                <a:pos x="8638" y="79"/>
              </a:cxn>
              <a:cxn ang="0">
                <a:pos x="8604" y="44"/>
              </a:cxn>
              <a:cxn ang="0">
                <a:pos x="8604" y="44"/>
              </a:cxn>
              <a:cxn ang="0">
                <a:pos x="8548" y="36"/>
              </a:cxn>
              <a:cxn ang="0">
                <a:pos x="8548" y="37"/>
              </a:cxn>
              <a:cxn ang="0">
                <a:pos x="91" y="37"/>
              </a:cxn>
              <a:cxn ang="0">
                <a:pos x="40" y="30"/>
              </a:cxn>
              <a:cxn ang="0">
                <a:pos x="39" y="30"/>
              </a:cxn>
              <a:cxn ang="0">
                <a:pos x="8" y="1"/>
              </a:cxn>
              <a:cxn ang="0">
                <a:pos x="8" y="0"/>
              </a:cxn>
              <a:cxn ang="0">
                <a:pos x="0" y="0"/>
              </a:cxn>
              <a:cxn ang="0">
                <a:pos x="0" y="1"/>
              </a:cxn>
              <a:cxn ang="0">
                <a:pos x="1" y="34"/>
              </a:cxn>
              <a:cxn ang="0">
                <a:pos x="36" y="70"/>
              </a:cxn>
              <a:cxn ang="0">
                <a:pos x="36" y="70"/>
              </a:cxn>
              <a:cxn ang="0">
                <a:pos x="91" y="77"/>
              </a:cxn>
              <a:cxn ang="0">
                <a:pos x="91" y="77"/>
              </a:cxn>
              <a:cxn ang="0">
                <a:pos x="8548" y="77"/>
              </a:cxn>
              <a:cxn ang="0">
                <a:pos x="8599" y="83"/>
              </a:cxn>
              <a:cxn ang="0">
                <a:pos x="8601" y="84"/>
              </a:cxn>
              <a:cxn ang="0">
                <a:pos x="8632" y="113"/>
              </a:cxn>
              <a:cxn ang="0">
                <a:pos x="8632" y="114"/>
              </a:cxn>
              <a:cxn ang="0">
                <a:pos x="8640" y="114"/>
              </a:cxn>
              <a:cxn ang="0">
                <a:pos x="8640" y="113"/>
              </a:cxn>
              <a:cxn ang="0">
                <a:pos x="8638" y="79"/>
              </a:cxn>
            </a:cxnLst>
            <a:rect l="0" t="0" r="r" b="b"/>
            <a:pathLst>
              <a:path w="8640" h="114">
                <a:moveTo>
                  <a:pt x="8638" y="79"/>
                </a:moveTo>
                <a:lnTo>
                  <a:pt x="8638" y="79"/>
                </a:lnTo>
                <a:cubicBezTo>
                  <a:pt x="8635" y="60"/>
                  <a:pt x="8626" y="51"/>
                  <a:pt x="8604" y="44"/>
                </a:cubicBezTo>
                <a:lnTo>
                  <a:pt x="8604" y="44"/>
                </a:lnTo>
                <a:cubicBezTo>
                  <a:pt x="8592" y="40"/>
                  <a:pt x="8573" y="38"/>
                  <a:pt x="8548" y="36"/>
                </a:cubicBezTo>
                <a:lnTo>
                  <a:pt x="8548" y="37"/>
                </a:lnTo>
                <a:lnTo>
                  <a:pt x="91" y="37"/>
                </a:lnTo>
                <a:cubicBezTo>
                  <a:pt x="70" y="35"/>
                  <a:pt x="51" y="33"/>
                  <a:pt x="40" y="30"/>
                </a:cubicBezTo>
                <a:lnTo>
                  <a:pt x="39" y="30"/>
                </a:lnTo>
                <a:cubicBezTo>
                  <a:pt x="28" y="26"/>
                  <a:pt x="7" y="19"/>
                  <a:pt x="8" y="1"/>
                </a:cubicBezTo>
                <a:lnTo>
                  <a:pt x="8" y="0"/>
                </a:lnTo>
                <a:lnTo>
                  <a:pt x="0" y="0"/>
                </a:lnTo>
                <a:lnTo>
                  <a:pt x="0" y="1"/>
                </a:lnTo>
                <a:cubicBezTo>
                  <a:pt x="0" y="11"/>
                  <a:pt x="0" y="26"/>
                  <a:pt x="1" y="34"/>
                </a:cubicBezTo>
                <a:cubicBezTo>
                  <a:pt x="4" y="53"/>
                  <a:pt x="13" y="63"/>
                  <a:pt x="36" y="70"/>
                </a:cubicBezTo>
                <a:lnTo>
                  <a:pt x="36" y="70"/>
                </a:lnTo>
                <a:cubicBezTo>
                  <a:pt x="47" y="73"/>
                  <a:pt x="66" y="75"/>
                  <a:pt x="91" y="77"/>
                </a:cubicBezTo>
                <a:lnTo>
                  <a:pt x="91" y="77"/>
                </a:lnTo>
                <a:lnTo>
                  <a:pt x="8548" y="77"/>
                </a:lnTo>
                <a:cubicBezTo>
                  <a:pt x="8570" y="78"/>
                  <a:pt x="8588" y="80"/>
                  <a:pt x="8599" y="83"/>
                </a:cubicBezTo>
                <a:lnTo>
                  <a:pt x="8601" y="84"/>
                </a:lnTo>
                <a:cubicBezTo>
                  <a:pt x="8611" y="87"/>
                  <a:pt x="8632" y="94"/>
                  <a:pt x="8632" y="113"/>
                </a:cubicBezTo>
                <a:lnTo>
                  <a:pt x="8632" y="114"/>
                </a:lnTo>
                <a:lnTo>
                  <a:pt x="8640" y="114"/>
                </a:lnTo>
                <a:lnTo>
                  <a:pt x="8640" y="113"/>
                </a:lnTo>
                <a:cubicBezTo>
                  <a:pt x="8640" y="103"/>
                  <a:pt x="8639" y="87"/>
                  <a:pt x="8638" y="79"/>
                </a:cubicBezTo>
                <a:close/>
              </a:path>
            </a:pathLst>
          </a:custGeom>
          <a:solidFill>
            <a:schemeClr val="bg1">
              <a:lumMod val="65000"/>
            </a:schemeClr>
          </a:solidFill>
          <a:ln w="1270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8" name="Freeform 5"/>
          <p:cNvSpPr>
            <a:spLocks/>
          </p:cNvSpPr>
          <p:nvPr userDrawn="1"/>
        </p:nvSpPr>
        <p:spPr bwMode="gray">
          <a:xfrm>
            <a:off x="451644" y="6153804"/>
            <a:ext cx="8240713" cy="123825"/>
          </a:xfrm>
          <a:custGeom>
            <a:avLst/>
            <a:gdLst/>
            <a:ahLst/>
            <a:cxnLst>
              <a:cxn ang="0">
                <a:pos x="8638" y="79"/>
              </a:cxn>
              <a:cxn ang="0">
                <a:pos x="8638" y="79"/>
              </a:cxn>
              <a:cxn ang="0">
                <a:pos x="8604" y="44"/>
              </a:cxn>
              <a:cxn ang="0">
                <a:pos x="8604" y="44"/>
              </a:cxn>
              <a:cxn ang="0">
                <a:pos x="8548" y="36"/>
              </a:cxn>
              <a:cxn ang="0">
                <a:pos x="8548" y="37"/>
              </a:cxn>
              <a:cxn ang="0">
                <a:pos x="91" y="37"/>
              </a:cxn>
              <a:cxn ang="0">
                <a:pos x="40" y="30"/>
              </a:cxn>
              <a:cxn ang="0">
                <a:pos x="39" y="30"/>
              </a:cxn>
              <a:cxn ang="0">
                <a:pos x="8" y="1"/>
              </a:cxn>
              <a:cxn ang="0">
                <a:pos x="8" y="0"/>
              </a:cxn>
              <a:cxn ang="0">
                <a:pos x="0" y="0"/>
              </a:cxn>
              <a:cxn ang="0">
                <a:pos x="0" y="1"/>
              </a:cxn>
              <a:cxn ang="0">
                <a:pos x="1" y="34"/>
              </a:cxn>
              <a:cxn ang="0">
                <a:pos x="36" y="70"/>
              </a:cxn>
              <a:cxn ang="0">
                <a:pos x="36" y="70"/>
              </a:cxn>
              <a:cxn ang="0">
                <a:pos x="91" y="77"/>
              </a:cxn>
              <a:cxn ang="0">
                <a:pos x="91" y="77"/>
              </a:cxn>
              <a:cxn ang="0">
                <a:pos x="8548" y="77"/>
              </a:cxn>
              <a:cxn ang="0">
                <a:pos x="8599" y="83"/>
              </a:cxn>
              <a:cxn ang="0">
                <a:pos x="8601" y="84"/>
              </a:cxn>
              <a:cxn ang="0">
                <a:pos x="8632" y="113"/>
              </a:cxn>
              <a:cxn ang="0">
                <a:pos x="8632" y="114"/>
              </a:cxn>
              <a:cxn ang="0">
                <a:pos x="8640" y="114"/>
              </a:cxn>
              <a:cxn ang="0">
                <a:pos x="8640" y="113"/>
              </a:cxn>
              <a:cxn ang="0">
                <a:pos x="8638" y="79"/>
              </a:cxn>
            </a:cxnLst>
            <a:rect l="0" t="0" r="r" b="b"/>
            <a:pathLst>
              <a:path w="8640" h="114">
                <a:moveTo>
                  <a:pt x="8638" y="79"/>
                </a:moveTo>
                <a:lnTo>
                  <a:pt x="8638" y="79"/>
                </a:lnTo>
                <a:cubicBezTo>
                  <a:pt x="8635" y="60"/>
                  <a:pt x="8626" y="51"/>
                  <a:pt x="8604" y="44"/>
                </a:cubicBezTo>
                <a:lnTo>
                  <a:pt x="8604" y="44"/>
                </a:lnTo>
                <a:cubicBezTo>
                  <a:pt x="8592" y="40"/>
                  <a:pt x="8573" y="38"/>
                  <a:pt x="8548" y="36"/>
                </a:cubicBezTo>
                <a:lnTo>
                  <a:pt x="8548" y="37"/>
                </a:lnTo>
                <a:lnTo>
                  <a:pt x="91" y="37"/>
                </a:lnTo>
                <a:cubicBezTo>
                  <a:pt x="70" y="35"/>
                  <a:pt x="51" y="33"/>
                  <a:pt x="40" y="30"/>
                </a:cubicBezTo>
                <a:lnTo>
                  <a:pt x="39" y="30"/>
                </a:lnTo>
                <a:cubicBezTo>
                  <a:pt x="28" y="26"/>
                  <a:pt x="7" y="19"/>
                  <a:pt x="8" y="1"/>
                </a:cubicBezTo>
                <a:lnTo>
                  <a:pt x="8" y="0"/>
                </a:lnTo>
                <a:lnTo>
                  <a:pt x="0" y="0"/>
                </a:lnTo>
                <a:lnTo>
                  <a:pt x="0" y="1"/>
                </a:lnTo>
                <a:cubicBezTo>
                  <a:pt x="0" y="11"/>
                  <a:pt x="0" y="26"/>
                  <a:pt x="1" y="34"/>
                </a:cubicBezTo>
                <a:cubicBezTo>
                  <a:pt x="4" y="53"/>
                  <a:pt x="13" y="63"/>
                  <a:pt x="36" y="70"/>
                </a:cubicBezTo>
                <a:lnTo>
                  <a:pt x="36" y="70"/>
                </a:lnTo>
                <a:cubicBezTo>
                  <a:pt x="47" y="73"/>
                  <a:pt x="66" y="75"/>
                  <a:pt x="91" y="77"/>
                </a:cubicBezTo>
                <a:lnTo>
                  <a:pt x="91" y="77"/>
                </a:lnTo>
                <a:lnTo>
                  <a:pt x="8548" y="77"/>
                </a:lnTo>
                <a:cubicBezTo>
                  <a:pt x="8570" y="78"/>
                  <a:pt x="8588" y="80"/>
                  <a:pt x="8599" y="83"/>
                </a:cubicBezTo>
                <a:lnTo>
                  <a:pt x="8601" y="84"/>
                </a:lnTo>
                <a:cubicBezTo>
                  <a:pt x="8611" y="87"/>
                  <a:pt x="8632" y="94"/>
                  <a:pt x="8632" y="113"/>
                </a:cubicBezTo>
                <a:lnTo>
                  <a:pt x="8632" y="114"/>
                </a:lnTo>
                <a:lnTo>
                  <a:pt x="8640" y="114"/>
                </a:lnTo>
                <a:lnTo>
                  <a:pt x="8640" y="113"/>
                </a:lnTo>
                <a:cubicBezTo>
                  <a:pt x="8640" y="103"/>
                  <a:pt x="8639" y="87"/>
                  <a:pt x="8638" y="79"/>
                </a:cubicBezTo>
                <a:close/>
              </a:path>
            </a:pathLst>
          </a:custGeom>
          <a:solidFill>
            <a:schemeClr val="bg1">
              <a:lumMod val="65000"/>
            </a:schemeClr>
          </a:solidFill>
          <a:ln w="1270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1644" y="6442431"/>
            <a:ext cx="966847" cy="263169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98" r:id="rId1"/>
    <p:sldLayoutId id="2147483699" r:id="rId2"/>
    <p:sldLayoutId id="2147483700" r:id="rId3"/>
    <p:sldLayoutId id="2147483733" r:id="rId4"/>
    <p:sldLayoutId id="2147483701" r:id="rId5"/>
    <p:sldLayoutId id="2147483702" r:id="rId6"/>
    <p:sldLayoutId id="2147483703" r:id="rId7"/>
    <p:sldLayoutId id="2147483704" r:id="rId8"/>
    <p:sldLayoutId id="2147483705" r:id="rId9"/>
    <p:sldLayoutId id="2147483706" r:id="rId10"/>
    <p:sldLayoutId id="2147483735" r:id="rId11"/>
    <p:sldLayoutId id="2147483707" r:id="rId12"/>
    <p:sldLayoutId id="2147483708" r:id="rId13"/>
    <p:sldLayoutId id="2147483709" r:id="rId14"/>
    <p:sldLayoutId id="2147483710" r:id="rId15"/>
    <p:sldLayoutId id="2147483711" r:id="rId16"/>
    <p:sldLayoutId id="2147483712" r:id="rId17"/>
    <p:sldLayoutId id="2147483713" r:id="rId18"/>
    <p:sldLayoutId id="2147483714" r:id="rId19"/>
    <p:sldLayoutId id="2147483715" r:id="rId20"/>
    <p:sldLayoutId id="2147483716" r:id="rId21"/>
    <p:sldLayoutId id="2147483717" r:id="rId22"/>
    <p:sldLayoutId id="2147483718" r:id="rId23"/>
    <p:sldLayoutId id="2147483719" r:id="rId24"/>
    <p:sldLayoutId id="2147483720" r:id="rId25"/>
    <p:sldLayoutId id="2147483721" r:id="rId26"/>
    <p:sldLayoutId id="2147483722" r:id="rId27"/>
    <p:sldLayoutId id="2147483723" r:id="rId28"/>
    <p:sldLayoutId id="2147483724" r:id="rId29"/>
    <p:sldLayoutId id="2147483725" r:id="rId30"/>
    <p:sldLayoutId id="2147483726" r:id="rId31"/>
    <p:sldLayoutId id="2147483727" r:id="rId32"/>
    <p:sldLayoutId id="2147483728" r:id="rId33"/>
    <p:sldLayoutId id="2147483729" r:id="rId34"/>
    <p:sldLayoutId id="2147483730" r:id="rId35"/>
    <p:sldLayoutId id="2147483731" r:id="rId36"/>
    <p:sldLayoutId id="2147483732" r:id="rId37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chemeClr val="accent1"/>
          </a:solidFill>
          <a:latin typeface="Georgia" pitchFamily="18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1800"/>
        </a:spcBef>
        <a:buSzPct val="25000"/>
        <a:buFont typeface="Georgia" panose="02040502050405020303" pitchFamily="18" charset="0"/>
        <a:buChar char=" "/>
        <a:defRPr sz="2400" kern="1200">
          <a:solidFill>
            <a:schemeClr val="accent2"/>
          </a:solidFill>
          <a:latin typeface="Georgia" pitchFamily="18" charset="0"/>
          <a:ea typeface="+mn-ea"/>
          <a:cs typeface="+mn-cs"/>
        </a:defRPr>
      </a:lvl1pPr>
      <a:lvl2pPr marL="228600" indent="-165100" algn="l" defTabSz="914400" rtl="0" eaLnBrk="1" latinLnBrk="0" hangingPunct="1">
        <a:spcBef>
          <a:spcPts val="1000"/>
        </a:spcBef>
        <a:buClr>
          <a:schemeClr val="tx2"/>
        </a:buClr>
        <a:buFont typeface="Arial" pitchFamily="34" charset="0"/>
        <a:buChar char="•"/>
        <a:defRPr sz="2000" kern="1200">
          <a:solidFill>
            <a:schemeClr val="tx2"/>
          </a:solidFill>
          <a:latin typeface="+mn-lt"/>
          <a:ea typeface="+mn-ea"/>
          <a:cs typeface="+mn-cs"/>
        </a:defRPr>
      </a:lvl2pPr>
      <a:lvl3pPr marL="687388" indent="-228600" algn="l" defTabSz="914400" rtl="0" eaLnBrk="1" latinLnBrk="0" hangingPunct="1">
        <a:spcBef>
          <a:spcPts val="600"/>
        </a:spcBef>
        <a:buClr>
          <a:schemeClr val="tx2"/>
        </a:buClr>
        <a:buFont typeface="Arial" pitchFamily="34" charset="0"/>
        <a:buChar char="–"/>
        <a:defRPr sz="1800" kern="1200">
          <a:solidFill>
            <a:schemeClr val="tx2"/>
          </a:solidFill>
          <a:latin typeface="+mn-lt"/>
          <a:ea typeface="+mn-ea"/>
          <a:cs typeface="+mn-cs"/>
        </a:defRPr>
      </a:lvl3pPr>
      <a:lvl4pPr marL="911225" indent="-182563" algn="l" defTabSz="914400" rtl="0" eaLnBrk="1" latinLnBrk="0" hangingPunct="1">
        <a:spcBef>
          <a:spcPts val="600"/>
        </a:spcBef>
        <a:buClr>
          <a:schemeClr val="tx2"/>
        </a:buClr>
        <a:buFont typeface="Arial" pitchFamily="34" charset="0"/>
        <a:buChar char="•"/>
        <a:defRPr sz="1600" kern="1200">
          <a:solidFill>
            <a:schemeClr val="tx2"/>
          </a:solidFill>
          <a:latin typeface="+mn-lt"/>
          <a:ea typeface="+mn-ea"/>
          <a:cs typeface="+mn-cs"/>
        </a:defRPr>
      </a:lvl4pPr>
      <a:lvl5pPr marL="1211263" indent="-228600" algn="l" defTabSz="914400" rtl="0" eaLnBrk="1" latinLnBrk="0" hangingPunct="1">
        <a:spcBef>
          <a:spcPts val="300"/>
        </a:spcBef>
        <a:buClr>
          <a:schemeClr val="tx2"/>
        </a:buClr>
        <a:buFont typeface="Arial" pitchFamily="34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95571848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77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57200" y="73152"/>
            <a:ext cx="8229600" cy="1005840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rm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57200" y="146304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3124200" y="6567101"/>
            <a:ext cx="5105400" cy="13849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sz="9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 smtClean="0">
                <a:solidFill>
                  <a:srgbClr val="000000">
                    <a:lumMod val="50000"/>
                    <a:lumOff val="50000"/>
                  </a:srgbClr>
                </a:solidFill>
              </a:rPr>
              <a:t>COMPANY CONFIDENTIAL  |  FOR INTERNAL USE ONLY  |  DO NOT COPY</a:t>
            </a:r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8305800" y="6567101"/>
            <a:ext cx="381000" cy="13849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sz="9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1A2DCB2D-F3A1-47AC-A248-15826C4C808C}" type="slidenum">
              <a:rPr 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‹#›</a:t>
            </a:fld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7" name="Freeform 5"/>
          <p:cNvSpPr>
            <a:spLocks/>
          </p:cNvSpPr>
          <p:nvPr/>
        </p:nvSpPr>
        <p:spPr bwMode="gray">
          <a:xfrm>
            <a:off x="451644" y="1125895"/>
            <a:ext cx="8240713" cy="123825"/>
          </a:xfrm>
          <a:custGeom>
            <a:avLst/>
            <a:gdLst/>
            <a:ahLst/>
            <a:cxnLst>
              <a:cxn ang="0">
                <a:pos x="8638" y="79"/>
              </a:cxn>
              <a:cxn ang="0">
                <a:pos x="8638" y="79"/>
              </a:cxn>
              <a:cxn ang="0">
                <a:pos x="8604" y="44"/>
              </a:cxn>
              <a:cxn ang="0">
                <a:pos x="8604" y="44"/>
              </a:cxn>
              <a:cxn ang="0">
                <a:pos x="8548" y="36"/>
              </a:cxn>
              <a:cxn ang="0">
                <a:pos x="8548" y="37"/>
              </a:cxn>
              <a:cxn ang="0">
                <a:pos x="91" y="37"/>
              </a:cxn>
              <a:cxn ang="0">
                <a:pos x="40" y="30"/>
              </a:cxn>
              <a:cxn ang="0">
                <a:pos x="39" y="30"/>
              </a:cxn>
              <a:cxn ang="0">
                <a:pos x="8" y="1"/>
              </a:cxn>
              <a:cxn ang="0">
                <a:pos x="8" y="0"/>
              </a:cxn>
              <a:cxn ang="0">
                <a:pos x="0" y="0"/>
              </a:cxn>
              <a:cxn ang="0">
                <a:pos x="0" y="1"/>
              </a:cxn>
              <a:cxn ang="0">
                <a:pos x="1" y="34"/>
              </a:cxn>
              <a:cxn ang="0">
                <a:pos x="36" y="70"/>
              </a:cxn>
              <a:cxn ang="0">
                <a:pos x="36" y="70"/>
              </a:cxn>
              <a:cxn ang="0">
                <a:pos x="91" y="77"/>
              </a:cxn>
              <a:cxn ang="0">
                <a:pos x="91" y="77"/>
              </a:cxn>
              <a:cxn ang="0">
                <a:pos x="8548" y="77"/>
              </a:cxn>
              <a:cxn ang="0">
                <a:pos x="8599" y="83"/>
              </a:cxn>
              <a:cxn ang="0">
                <a:pos x="8601" y="84"/>
              </a:cxn>
              <a:cxn ang="0">
                <a:pos x="8632" y="113"/>
              </a:cxn>
              <a:cxn ang="0">
                <a:pos x="8632" y="114"/>
              </a:cxn>
              <a:cxn ang="0">
                <a:pos x="8640" y="114"/>
              </a:cxn>
              <a:cxn ang="0">
                <a:pos x="8640" y="113"/>
              </a:cxn>
              <a:cxn ang="0">
                <a:pos x="8638" y="79"/>
              </a:cxn>
            </a:cxnLst>
            <a:rect l="0" t="0" r="r" b="b"/>
            <a:pathLst>
              <a:path w="8640" h="114">
                <a:moveTo>
                  <a:pt x="8638" y="79"/>
                </a:moveTo>
                <a:lnTo>
                  <a:pt x="8638" y="79"/>
                </a:lnTo>
                <a:cubicBezTo>
                  <a:pt x="8635" y="60"/>
                  <a:pt x="8626" y="51"/>
                  <a:pt x="8604" y="44"/>
                </a:cubicBezTo>
                <a:lnTo>
                  <a:pt x="8604" y="44"/>
                </a:lnTo>
                <a:cubicBezTo>
                  <a:pt x="8592" y="40"/>
                  <a:pt x="8573" y="38"/>
                  <a:pt x="8548" y="36"/>
                </a:cubicBezTo>
                <a:lnTo>
                  <a:pt x="8548" y="37"/>
                </a:lnTo>
                <a:lnTo>
                  <a:pt x="91" y="37"/>
                </a:lnTo>
                <a:cubicBezTo>
                  <a:pt x="70" y="35"/>
                  <a:pt x="51" y="33"/>
                  <a:pt x="40" y="30"/>
                </a:cubicBezTo>
                <a:lnTo>
                  <a:pt x="39" y="30"/>
                </a:lnTo>
                <a:cubicBezTo>
                  <a:pt x="28" y="26"/>
                  <a:pt x="7" y="19"/>
                  <a:pt x="8" y="1"/>
                </a:cubicBezTo>
                <a:lnTo>
                  <a:pt x="8" y="0"/>
                </a:lnTo>
                <a:lnTo>
                  <a:pt x="0" y="0"/>
                </a:lnTo>
                <a:lnTo>
                  <a:pt x="0" y="1"/>
                </a:lnTo>
                <a:cubicBezTo>
                  <a:pt x="0" y="11"/>
                  <a:pt x="0" y="26"/>
                  <a:pt x="1" y="34"/>
                </a:cubicBezTo>
                <a:cubicBezTo>
                  <a:pt x="4" y="53"/>
                  <a:pt x="13" y="63"/>
                  <a:pt x="36" y="70"/>
                </a:cubicBezTo>
                <a:lnTo>
                  <a:pt x="36" y="70"/>
                </a:lnTo>
                <a:cubicBezTo>
                  <a:pt x="47" y="73"/>
                  <a:pt x="66" y="75"/>
                  <a:pt x="91" y="77"/>
                </a:cubicBezTo>
                <a:lnTo>
                  <a:pt x="91" y="77"/>
                </a:lnTo>
                <a:lnTo>
                  <a:pt x="8548" y="77"/>
                </a:lnTo>
                <a:cubicBezTo>
                  <a:pt x="8570" y="78"/>
                  <a:pt x="8588" y="80"/>
                  <a:pt x="8599" y="83"/>
                </a:cubicBezTo>
                <a:lnTo>
                  <a:pt x="8601" y="84"/>
                </a:lnTo>
                <a:cubicBezTo>
                  <a:pt x="8611" y="87"/>
                  <a:pt x="8632" y="94"/>
                  <a:pt x="8632" y="113"/>
                </a:cubicBezTo>
                <a:lnTo>
                  <a:pt x="8632" y="114"/>
                </a:lnTo>
                <a:lnTo>
                  <a:pt x="8640" y="114"/>
                </a:lnTo>
                <a:lnTo>
                  <a:pt x="8640" y="113"/>
                </a:lnTo>
                <a:cubicBezTo>
                  <a:pt x="8640" y="103"/>
                  <a:pt x="8639" y="87"/>
                  <a:pt x="8638" y="79"/>
                </a:cubicBezTo>
                <a:close/>
              </a:path>
            </a:pathLst>
          </a:custGeom>
          <a:solidFill>
            <a:schemeClr val="bg1">
              <a:lumMod val="65000"/>
            </a:schemeClr>
          </a:solidFill>
          <a:ln w="1270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896002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7" r:id="rId1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chemeClr val="accent1"/>
          </a:solidFill>
          <a:latin typeface="Georgia" pitchFamily="18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1800"/>
        </a:spcBef>
        <a:buFont typeface="Arial" pitchFamily="34" charset="0"/>
        <a:buNone/>
        <a:defRPr sz="2400" kern="1200">
          <a:solidFill>
            <a:schemeClr val="accent2"/>
          </a:solidFill>
          <a:latin typeface="Georgia" pitchFamily="18" charset="0"/>
          <a:ea typeface="+mn-ea"/>
          <a:cs typeface="+mn-cs"/>
        </a:defRPr>
      </a:lvl1pPr>
      <a:lvl2pPr marL="182880" indent="-182880" algn="l" defTabSz="914400" rtl="0" eaLnBrk="1" latinLnBrk="0" hangingPunct="1">
        <a:spcBef>
          <a:spcPts val="1000"/>
        </a:spcBef>
        <a:buClr>
          <a:schemeClr val="tx2"/>
        </a:buClr>
        <a:buFont typeface="Arial" pitchFamily="34" charset="0"/>
        <a:buChar char="•"/>
        <a:defRPr sz="2000" kern="1200">
          <a:solidFill>
            <a:schemeClr val="tx2"/>
          </a:solidFill>
          <a:latin typeface="+mn-lt"/>
          <a:ea typeface="+mn-ea"/>
          <a:cs typeface="+mn-cs"/>
        </a:defRPr>
      </a:lvl2pPr>
      <a:lvl3pPr marL="548640" indent="-228600" algn="l" defTabSz="914400" rtl="0" eaLnBrk="1" latinLnBrk="0" hangingPunct="1">
        <a:spcBef>
          <a:spcPts val="600"/>
        </a:spcBef>
        <a:buClr>
          <a:schemeClr val="tx2"/>
        </a:buClr>
        <a:buFont typeface="Arial" pitchFamily="34" charset="0"/>
        <a:buChar char="–"/>
        <a:defRPr sz="1800" kern="1200">
          <a:solidFill>
            <a:schemeClr val="tx2"/>
          </a:solidFill>
          <a:latin typeface="+mn-lt"/>
          <a:ea typeface="+mn-ea"/>
          <a:cs typeface="+mn-cs"/>
        </a:defRPr>
      </a:lvl3pPr>
      <a:lvl4pPr marL="822960" indent="-182880" algn="l" defTabSz="914400" rtl="0" eaLnBrk="1" latinLnBrk="0" hangingPunct="1">
        <a:spcBef>
          <a:spcPts val="600"/>
        </a:spcBef>
        <a:buClr>
          <a:schemeClr val="tx2"/>
        </a:buClr>
        <a:buFont typeface="Arial" pitchFamily="34" charset="0"/>
        <a:buChar char="•"/>
        <a:defRPr sz="1600" kern="1200">
          <a:solidFill>
            <a:schemeClr val="tx2"/>
          </a:solidFill>
          <a:latin typeface="+mn-lt"/>
          <a:ea typeface="+mn-ea"/>
          <a:cs typeface="+mn-cs"/>
        </a:defRPr>
      </a:lvl4pPr>
      <a:lvl5pPr marL="1097280" indent="-228600" algn="l" defTabSz="914400" rtl="0" eaLnBrk="1" latinLnBrk="0" hangingPunct="1">
        <a:spcBef>
          <a:spcPts val="300"/>
        </a:spcBef>
        <a:buClr>
          <a:schemeClr val="tx2"/>
        </a:buClr>
        <a:buFont typeface="Arial" pitchFamily="34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8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7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7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Placeholder 1"/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0007" b="20007"/>
          <a:stretch/>
        </p:blipFill>
        <p:spPr/>
      </p:pic>
      <p:sp>
        <p:nvSpPr>
          <p:cNvPr id="6" name="Title 5"/>
          <p:cNvSpPr>
            <a:spLocks noGrp="1"/>
          </p:cNvSpPr>
          <p:nvPr>
            <p:ph type="ctrTitle"/>
          </p:nvPr>
        </p:nvSpPr>
        <p:spPr>
          <a:xfrm>
            <a:off x="457199" y="858891"/>
            <a:ext cx="6677025" cy="1234440"/>
          </a:xfrm>
        </p:spPr>
        <p:txBody>
          <a:bodyPr/>
          <a:lstStyle/>
          <a:p>
            <a:r>
              <a:rPr lang="en-US" dirty="0" smtClean="0"/>
              <a:t/>
            </a:r>
            <a:br>
              <a:rPr lang="en-US" dirty="0" smtClean="0"/>
            </a:br>
            <a:r>
              <a:rPr lang="en-US" dirty="0"/>
              <a:t>Accum ODS </a:t>
            </a:r>
            <a:r>
              <a:rPr lang="en-US" dirty="0" smtClean="0"/>
              <a:t>Technology Strategy and Roadmap - Draft </a:t>
            </a:r>
            <a:endParaRPr lang="en-US" dirty="0"/>
          </a:p>
        </p:txBody>
      </p:sp>
      <p:sp>
        <p:nvSpPr>
          <p:cNvPr id="7" name="Subtitle 6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smtClean="0"/>
              <a:t>May 8, 2015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COMPANY CONFIDENTIAL  |  FOR INTERNAL USE ONLY  |  DO NOT COP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573221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hallenge </a:t>
            </a:r>
            <a:r>
              <a:rPr lang="en-US" dirty="0" smtClean="0"/>
              <a:t>#1b: </a:t>
            </a:r>
            <a:r>
              <a:rPr lang="en-US" dirty="0"/>
              <a:t>Add Logging/Analytics to </a:t>
            </a:r>
            <a:r>
              <a:rPr lang="en-US" dirty="0" smtClean="0"/>
              <a:t>the ODS Backend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OMPANY CONFIDENTIAL  |  FOR INTERNAL USE ONLY  |  DO NOT COPY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2DCB2D-F3A1-47AC-A248-15826C4C808C}" type="slidenum">
              <a:rPr lang="en-US" smtClean="0"/>
              <a:pPr/>
              <a:t>10</a:t>
            </a:fld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647700" y="1302709"/>
            <a:ext cx="7943850" cy="37702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700" u="sng" dirty="0"/>
              <a:t>What is the business problem that we are trying to solve?</a:t>
            </a:r>
            <a:endParaRPr lang="en-US" sz="1700" dirty="0"/>
          </a:p>
          <a:p>
            <a:pPr marL="285750" indent="-285750" fontAlgn="ctr">
              <a:buFont typeface="Arial" panose="020B0604020202020204" pitchFamily="34" charset="0"/>
              <a:buChar char="•"/>
            </a:pPr>
            <a:r>
              <a:rPr lang="en-US" sz="1700" dirty="0"/>
              <a:t>At the Accum ODS backend, we only capture successful accumulator updates</a:t>
            </a:r>
          </a:p>
          <a:p>
            <a:pPr marL="285750" indent="-285750" fontAlgn="ctr">
              <a:buFont typeface="Arial" panose="020B0604020202020204" pitchFamily="34" charset="0"/>
              <a:buChar char="•"/>
            </a:pPr>
            <a:r>
              <a:rPr lang="en-US" sz="1700" dirty="0"/>
              <a:t>We do not capture any information regarding unsuccessful ODS update attempts (either read or update requests)</a:t>
            </a:r>
          </a:p>
          <a:p>
            <a:pPr marL="285750" indent="-285750" fontAlgn="ctr">
              <a:buFont typeface="Arial" panose="020B0604020202020204" pitchFamily="34" charset="0"/>
              <a:buChar char="•"/>
            </a:pPr>
            <a:r>
              <a:rPr lang="en-US" sz="1700" dirty="0"/>
              <a:t>This hinders us when we need to troubleshoot issues</a:t>
            </a:r>
          </a:p>
          <a:p>
            <a:pPr marL="285750" indent="-285750" fontAlgn="ctr">
              <a:buFont typeface="Arial" panose="020B0604020202020204" pitchFamily="34" charset="0"/>
              <a:buChar char="•"/>
            </a:pPr>
            <a:r>
              <a:rPr lang="en-US" sz="1700" dirty="0" smtClean="0"/>
              <a:t>Most issues are with ESI and we </a:t>
            </a:r>
            <a:r>
              <a:rPr lang="en-US" sz="1700" dirty="0"/>
              <a:t>are overly dependent on ESI to send us log information so that we can troubleshoot </a:t>
            </a:r>
            <a:r>
              <a:rPr lang="en-US" sz="1700" dirty="0" smtClean="0"/>
              <a:t>issues</a:t>
            </a:r>
          </a:p>
          <a:p>
            <a:pPr marL="285750" indent="-285750" fontAlgn="ctr">
              <a:buFont typeface="Arial" panose="020B0604020202020204" pitchFamily="34" charset="0"/>
              <a:buChar char="•"/>
            </a:pPr>
            <a:r>
              <a:rPr lang="en-US" sz="1700" dirty="0" smtClean="0"/>
              <a:t>We are unable to quantify how successful the Accum ODS truly is</a:t>
            </a:r>
            <a:endParaRPr lang="en-US" sz="1700" dirty="0"/>
          </a:p>
          <a:p>
            <a:r>
              <a:rPr lang="en-US" sz="1700" dirty="0"/>
              <a:t> </a:t>
            </a:r>
          </a:p>
          <a:p>
            <a:r>
              <a:rPr lang="en-US" sz="1700" dirty="0"/>
              <a:t> </a:t>
            </a:r>
          </a:p>
          <a:p>
            <a:pPr fontAlgn="ctr"/>
            <a:r>
              <a:rPr lang="en-US" sz="1700" u="sng" dirty="0" smtClean="0"/>
              <a:t>Work to be done</a:t>
            </a:r>
          </a:p>
          <a:p>
            <a:pPr marL="285750" indent="-285750" fontAlgn="ctr">
              <a:buFont typeface="Arial" panose="020B0604020202020204" pitchFamily="34" charset="0"/>
              <a:buChar char="•"/>
            </a:pPr>
            <a:r>
              <a:rPr lang="en-US" sz="1700" dirty="0" smtClean="0"/>
              <a:t>Develop plans for lightweight logging of all Accum ODS Inquiries and Updates</a:t>
            </a:r>
          </a:p>
          <a:p>
            <a:pPr marL="285750" indent="-285750" fontAlgn="ctr">
              <a:buFont typeface="Arial" panose="020B0604020202020204" pitchFamily="34" charset="0"/>
              <a:buChar char="•"/>
            </a:pPr>
            <a:r>
              <a:rPr lang="en-US" sz="1700" dirty="0" smtClean="0"/>
              <a:t>Develop plans for detailed logging of all Accum ODS failed transactions</a:t>
            </a:r>
            <a:endParaRPr lang="en-US" sz="1700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228543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 smtClean="0"/>
              <a:t>Improvement </a:t>
            </a:r>
            <a:r>
              <a:rPr lang="en-US" sz="2400" dirty="0"/>
              <a:t>#</a:t>
            </a:r>
            <a:r>
              <a:rPr lang="en-US" sz="2400" dirty="0" smtClean="0"/>
              <a:t>2: Eliminate Duplicate </a:t>
            </a:r>
            <a:r>
              <a:rPr lang="en-US" sz="2400" dirty="0"/>
              <a:t>Entries in Accum </a:t>
            </a:r>
            <a:r>
              <a:rPr lang="en-US" sz="2400" dirty="0" smtClean="0"/>
              <a:t>ODS from ESI</a:t>
            </a:r>
            <a:endParaRPr lang="en-US" sz="2400" dirty="0"/>
          </a:p>
        </p:txBody>
      </p:sp>
      <p:grpSp>
        <p:nvGrpSpPr>
          <p:cNvPr id="272" name="Group 271"/>
          <p:cNvGrpSpPr/>
          <p:nvPr/>
        </p:nvGrpSpPr>
        <p:grpSpPr>
          <a:xfrm>
            <a:off x="4707051" y="1896340"/>
            <a:ext cx="1191146" cy="857652"/>
            <a:chOff x="4217438" y="1300892"/>
            <a:chExt cx="1428750" cy="857652"/>
          </a:xfrm>
        </p:grpSpPr>
        <p:sp>
          <p:nvSpPr>
            <p:cNvPr id="6" name="Rectangle 5"/>
            <p:cNvSpPr/>
            <p:nvPr/>
          </p:nvSpPr>
          <p:spPr>
            <a:xfrm>
              <a:off x="4217438" y="1300892"/>
              <a:ext cx="1428750" cy="825858"/>
            </a:xfrm>
            <a:prstGeom prst="rect">
              <a:avLst/>
            </a:prstGeom>
            <a:solidFill>
              <a:schemeClr val="accent5"/>
            </a:solidFill>
            <a:ln w="127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 dirty="0" err="1" smtClean="0">
                <a:solidFill>
                  <a:schemeClr val="tx2"/>
                </a:solidFill>
              </a:endParaRPr>
            </a:p>
          </p:txBody>
        </p:sp>
        <p:sp>
          <p:nvSpPr>
            <p:cNvPr id="12" name="Rectangle 11"/>
            <p:cNvSpPr/>
            <p:nvPr/>
          </p:nvSpPr>
          <p:spPr>
            <a:xfrm>
              <a:off x="4608782" y="1518684"/>
              <a:ext cx="501609" cy="354759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3" name="TextBox 12"/>
            <p:cNvSpPr txBox="1"/>
            <p:nvPr/>
          </p:nvSpPr>
          <p:spPr>
            <a:xfrm>
              <a:off x="4217438" y="1912323"/>
              <a:ext cx="1428750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 dirty="0" smtClean="0"/>
                <a:t>Integration Layer</a:t>
              </a:r>
              <a:endParaRPr lang="en-US" sz="1000" dirty="0"/>
            </a:p>
          </p:txBody>
        </p:sp>
      </p:grpSp>
      <p:sp>
        <p:nvSpPr>
          <p:cNvPr id="17" name="Can 16"/>
          <p:cNvSpPr/>
          <p:nvPr/>
        </p:nvSpPr>
        <p:spPr>
          <a:xfrm>
            <a:off x="7847463" y="1887146"/>
            <a:ext cx="815524" cy="822309"/>
          </a:xfrm>
          <a:prstGeom prst="can">
            <a:avLst/>
          </a:prstGeom>
          <a:ln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800" dirty="0" smtClean="0">
              <a:solidFill>
                <a:schemeClr val="tx2"/>
              </a:solidFill>
            </a:endParaRPr>
          </a:p>
        </p:txBody>
      </p:sp>
      <p:cxnSp>
        <p:nvCxnSpPr>
          <p:cNvPr id="26" name="Straight Connector 25"/>
          <p:cNvCxnSpPr>
            <a:stCxn id="15" idx="3"/>
            <a:endCxn id="17" idx="2"/>
          </p:cNvCxnSpPr>
          <p:nvPr/>
        </p:nvCxnSpPr>
        <p:spPr>
          <a:xfrm>
            <a:off x="7408312" y="2037069"/>
            <a:ext cx="439151" cy="26123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/>
          <p:cNvCxnSpPr>
            <a:stCxn id="114" idx="3"/>
            <a:endCxn id="17" idx="2"/>
          </p:cNvCxnSpPr>
          <p:nvPr/>
        </p:nvCxnSpPr>
        <p:spPr>
          <a:xfrm flipV="1">
            <a:off x="7400061" y="2298301"/>
            <a:ext cx="447402" cy="5067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1" name="TextBox 80"/>
          <p:cNvSpPr txBox="1"/>
          <p:nvPr/>
        </p:nvSpPr>
        <p:spPr>
          <a:xfrm>
            <a:off x="391193" y="2088572"/>
            <a:ext cx="297303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/>
              <a:t>1</a:t>
            </a:r>
            <a:r>
              <a:rPr lang="en-US" sz="1200" dirty="0"/>
              <a:t>.</a:t>
            </a:r>
            <a:r>
              <a:rPr lang="en-US" sz="1200" dirty="0" smtClean="0"/>
              <a:t> ESI sends POST that gets assigned to Sys A (SEND Counter = 0) </a:t>
            </a:r>
            <a:endParaRPr lang="en-US" sz="1200" dirty="0"/>
          </a:p>
        </p:txBody>
      </p:sp>
      <p:sp>
        <p:nvSpPr>
          <p:cNvPr id="82" name="TextBox 81"/>
          <p:cNvSpPr txBox="1"/>
          <p:nvPr/>
        </p:nvSpPr>
        <p:spPr>
          <a:xfrm>
            <a:off x="391193" y="1326855"/>
            <a:ext cx="824101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How duplicate Accum entries are inserted into the ODS:</a:t>
            </a:r>
            <a:endParaRPr lang="en-US" dirty="0"/>
          </a:p>
        </p:txBody>
      </p:sp>
      <p:grpSp>
        <p:nvGrpSpPr>
          <p:cNvPr id="273" name="Group 272"/>
          <p:cNvGrpSpPr/>
          <p:nvPr/>
        </p:nvGrpSpPr>
        <p:grpSpPr>
          <a:xfrm>
            <a:off x="6037256" y="1887146"/>
            <a:ext cx="1523456" cy="838117"/>
            <a:chOff x="6037256" y="1291698"/>
            <a:chExt cx="1523456" cy="838117"/>
          </a:xfrm>
        </p:grpSpPr>
        <p:sp>
          <p:nvSpPr>
            <p:cNvPr id="5" name="Rectangle 4"/>
            <p:cNvSpPr/>
            <p:nvPr/>
          </p:nvSpPr>
          <p:spPr>
            <a:xfrm>
              <a:off x="6037256" y="1291698"/>
              <a:ext cx="1523456" cy="822310"/>
            </a:xfrm>
            <a:prstGeom prst="rect">
              <a:avLst/>
            </a:prstGeom>
            <a:solidFill>
              <a:schemeClr val="accent5"/>
            </a:solidFill>
            <a:ln w="127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 dirty="0" smtClean="0">
                <a:solidFill>
                  <a:schemeClr val="tx2"/>
                </a:solidFill>
              </a:endParaRPr>
            </a:p>
          </p:txBody>
        </p:sp>
        <p:sp>
          <p:nvSpPr>
            <p:cNvPr id="14" name="TextBox 13"/>
            <p:cNvSpPr txBox="1"/>
            <p:nvPr/>
          </p:nvSpPr>
          <p:spPr>
            <a:xfrm>
              <a:off x="6037256" y="1883594"/>
              <a:ext cx="1523455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 dirty="0" smtClean="0"/>
                <a:t>CA Mainframe</a:t>
              </a:r>
              <a:endParaRPr lang="en-US" sz="1000" dirty="0"/>
            </a:p>
          </p:txBody>
        </p:sp>
        <p:sp>
          <p:nvSpPr>
            <p:cNvPr id="15" name="Rectangle 14"/>
            <p:cNvSpPr/>
            <p:nvPr/>
          </p:nvSpPr>
          <p:spPr>
            <a:xfrm>
              <a:off x="6265313" y="1342474"/>
              <a:ext cx="1142999" cy="198293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000" dirty="0" smtClean="0">
                  <a:solidFill>
                    <a:schemeClr val="tx1"/>
                  </a:solidFill>
                </a:rPr>
                <a:t>Sys A</a:t>
              </a:r>
            </a:p>
          </p:txBody>
        </p:sp>
        <p:sp>
          <p:nvSpPr>
            <p:cNvPr id="66" name="TextBox 65"/>
            <p:cNvSpPr txBox="1"/>
            <p:nvPr/>
          </p:nvSpPr>
          <p:spPr>
            <a:xfrm>
              <a:off x="6717363" y="1342474"/>
              <a:ext cx="682698" cy="200055"/>
            </a:xfrm>
            <a:prstGeom prst="rect">
              <a:avLst/>
            </a:prstGeom>
            <a:solidFill>
              <a:schemeClr val="accent3">
                <a:alpha val="75000"/>
              </a:schemeClr>
            </a:solidFill>
            <a:ln>
              <a:solidFill>
                <a:schemeClr val="accent1"/>
              </a:solidFill>
            </a:ln>
          </p:spPr>
          <p:txBody>
            <a:bodyPr wrap="square" rtlCol="0">
              <a:spAutoFit/>
            </a:bodyPr>
            <a:lstStyle/>
            <a:p>
              <a:r>
                <a:rPr lang="en-US" sz="700" dirty="0" smtClean="0"/>
                <a:t>1</a:t>
              </a:r>
              <a:r>
                <a:rPr lang="en-US" sz="700" baseline="30000" dirty="0" smtClean="0"/>
                <a:t>st</a:t>
              </a:r>
              <a:r>
                <a:rPr lang="en-US" sz="700" dirty="0" smtClean="0"/>
                <a:t> Post </a:t>
              </a:r>
              <a:r>
                <a:rPr lang="en-US" sz="700" dirty="0" err="1" smtClean="0"/>
                <a:t>Req</a:t>
              </a:r>
              <a:endParaRPr lang="en-US" sz="700" dirty="0"/>
            </a:p>
          </p:txBody>
        </p:sp>
        <p:sp>
          <p:nvSpPr>
            <p:cNvPr id="114" name="Rectangle 113"/>
            <p:cNvSpPr/>
            <p:nvPr/>
          </p:nvSpPr>
          <p:spPr>
            <a:xfrm>
              <a:off x="6257062" y="1654378"/>
              <a:ext cx="1142999" cy="198293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000" dirty="0" smtClean="0">
                  <a:solidFill>
                    <a:schemeClr val="tx1"/>
                  </a:solidFill>
                </a:rPr>
                <a:t>SysB</a:t>
              </a:r>
            </a:p>
          </p:txBody>
        </p:sp>
      </p:grpSp>
      <p:grpSp>
        <p:nvGrpSpPr>
          <p:cNvPr id="271" name="Group 270"/>
          <p:cNvGrpSpPr/>
          <p:nvPr/>
        </p:nvGrpSpPr>
        <p:grpSpPr>
          <a:xfrm>
            <a:off x="3364229" y="1889916"/>
            <a:ext cx="1180760" cy="857652"/>
            <a:chOff x="2360695" y="1303957"/>
            <a:chExt cx="1435674" cy="857652"/>
          </a:xfrm>
        </p:grpSpPr>
        <p:sp>
          <p:nvSpPr>
            <p:cNvPr id="144" name="Rectangle 143"/>
            <p:cNvSpPr/>
            <p:nvPr/>
          </p:nvSpPr>
          <p:spPr>
            <a:xfrm>
              <a:off x="2367618" y="1303957"/>
              <a:ext cx="1428750" cy="825858"/>
            </a:xfrm>
            <a:prstGeom prst="rect">
              <a:avLst/>
            </a:prstGeom>
            <a:solidFill>
              <a:schemeClr val="accent5"/>
            </a:solidFill>
            <a:ln w="127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 dirty="0" err="1" smtClean="0">
                <a:solidFill>
                  <a:schemeClr val="tx2"/>
                </a:solidFill>
              </a:endParaRPr>
            </a:p>
          </p:txBody>
        </p:sp>
        <p:sp>
          <p:nvSpPr>
            <p:cNvPr id="145" name="Rectangle 144"/>
            <p:cNvSpPr/>
            <p:nvPr/>
          </p:nvSpPr>
          <p:spPr>
            <a:xfrm>
              <a:off x="2823605" y="1537651"/>
              <a:ext cx="501609" cy="354759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46" name="TextBox 145"/>
            <p:cNvSpPr txBox="1"/>
            <p:nvPr/>
          </p:nvSpPr>
          <p:spPr>
            <a:xfrm>
              <a:off x="2360695" y="1915388"/>
              <a:ext cx="1435674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 dirty="0" smtClean="0"/>
                <a:t>ESI</a:t>
              </a:r>
              <a:endParaRPr lang="en-US" sz="1000" dirty="0"/>
            </a:p>
          </p:txBody>
        </p:sp>
      </p:grpSp>
      <p:cxnSp>
        <p:nvCxnSpPr>
          <p:cNvPr id="24" name="Straight Connector 23"/>
          <p:cNvCxnSpPr>
            <a:stCxn id="12" idx="3"/>
            <a:endCxn id="15" idx="1"/>
          </p:cNvCxnSpPr>
          <p:nvPr/>
        </p:nvCxnSpPr>
        <p:spPr>
          <a:xfrm flipV="1">
            <a:off x="5451504" y="2037069"/>
            <a:ext cx="813809" cy="25444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>
            <a:stCxn id="12" idx="3"/>
            <a:endCxn id="114" idx="1"/>
          </p:cNvCxnSpPr>
          <p:nvPr/>
        </p:nvCxnSpPr>
        <p:spPr>
          <a:xfrm>
            <a:off x="5451504" y="2291512"/>
            <a:ext cx="805558" cy="5746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74" name="Group 273"/>
          <p:cNvGrpSpPr/>
          <p:nvPr/>
        </p:nvGrpSpPr>
        <p:grpSpPr>
          <a:xfrm>
            <a:off x="4707051" y="3093059"/>
            <a:ext cx="1191146" cy="857652"/>
            <a:chOff x="4217438" y="1300892"/>
            <a:chExt cx="1428750" cy="857652"/>
          </a:xfrm>
        </p:grpSpPr>
        <p:sp>
          <p:nvSpPr>
            <p:cNvPr id="275" name="Rectangle 274"/>
            <p:cNvSpPr/>
            <p:nvPr/>
          </p:nvSpPr>
          <p:spPr>
            <a:xfrm>
              <a:off x="4217438" y="1300892"/>
              <a:ext cx="1428750" cy="825858"/>
            </a:xfrm>
            <a:prstGeom prst="rect">
              <a:avLst/>
            </a:prstGeom>
            <a:solidFill>
              <a:schemeClr val="accent5"/>
            </a:solidFill>
            <a:ln w="127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 dirty="0" err="1" smtClean="0">
                <a:solidFill>
                  <a:schemeClr val="tx2"/>
                </a:solidFill>
              </a:endParaRPr>
            </a:p>
          </p:txBody>
        </p:sp>
        <p:sp>
          <p:nvSpPr>
            <p:cNvPr id="276" name="Rectangle 275"/>
            <p:cNvSpPr/>
            <p:nvPr/>
          </p:nvSpPr>
          <p:spPr>
            <a:xfrm>
              <a:off x="4608782" y="1518684"/>
              <a:ext cx="501609" cy="354759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277" name="TextBox 276"/>
            <p:cNvSpPr txBox="1"/>
            <p:nvPr/>
          </p:nvSpPr>
          <p:spPr>
            <a:xfrm>
              <a:off x="4217438" y="1912323"/>
              <a:ext cx="1428750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 dirty="0" smtClean="0"/>
                <a:t>Integration Layer</a:t>
              </a:r>
              <a:endParaRPr lang="en-US" sz="1000" dirty="0"/>
            </a:p>
          </p:txBody>
        </p:sp>
      </p:grpSp>
      <p:sp>
        <p:nvSpPr>
          <p:cNvPr id="278" name="Can 277"/>
          <p:cNvSpPr/>
          <p:nvPr/>
        </p:nvSpPr>
        <p:spPr>
          <a:xfrm>
            <a:off x="7847463" y="3083865"/>
            <a:ext cx="815524" cy="822309"/>
          </a:xfrm>
          <a:prstGeom prst="can">
            <a:avLst/>
          </a:prstGeom>
          <a:ln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800" dirty="0" smtClean="0">
              <a:solidFill>
                <a:schemeClr val="tx2"/>
              </a:solidFill>
            </a:endParaRPr>
          </a:p>
        </p:txBody>
      </p:sp>
      <p:cxnSp>
        <p:nvCxnSpPr>
          <p:cNvPr id="279" name="Straight Connector 278"/>
          <p:cNvCxnSpPr>
            <a:stCxn id="285" idx="3"/>
            <a:endCxn id="278" idx="2"/>
          </p:cNvCxnSpPr>
          <p:nvPr/>
        </p:nvCxnSpPr>
        <p:spPr>
          <a:xfrm>
            <a:off x="7408312" y="3233788"/>
            <a:ext cx="439151" cy="26123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0" name="Straight Connector 279"/>
          <p:cNvCxnSpPr>
            <a:stCxn id="287" idx="3"/>
            <a:endCxn id="278" idx="2"/>
          </p:cNvCxnSpPr>
          <p:nvPr/>
        </p:nvCxnSpPr>
        <p:spPr>
          <a:xfrm flipV="1">
            <a:off x="7400061" y="3495020"/>
            <a:ext cx="447402" cy="5067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1" name="TextBox 280"/>
          <p:cNvSpPr txBox="1"/>
          <p:nvPr/>
        </p:nvSpPr>
        <p:spPr>
          <a:xfrm>
            <a:off x="391193" y="3147275"/>
            <a:ext cx="297303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/>
              <a:t>2. POST times out and ESI Sends 2</a:t>
            </a:r>
            <a:r>
              <a:rPr lang="en-US" sz="1200" baseline="30000" dirty="0" smtClean="0"/>
              <a:t>nd</a:t>
            </a:r>
            <a:r>
              <a:rPr lang="en-US" sz="1200" dirty="0" smtClean="0"/>
              <a:t> POST, which get assigned to SysB</a:t>
            </a:r>
          </a:p>
          <a:p>
            <a:r>
              <a:rPr lang="en-US" sz="1200" dirty="0" smtClean="0"/>
              <a:t>(Send Counter = 1)</a:t>
            </a:r>
            <a:endParaRPr lang="en-US" sz="1200" dirty="0"/>
          </a:p>
        </p:txBody>
      </p:sp>
      <p:grpSp>
        <p:nvGrpSpPr>
          <p:cNvPr id="282" name="Group 281"/>
          <p:cNvGrpSpPr/>
          <p:nvPr/>
        </p:nvGrpSpPr>
        <p:grpSpPr>
          <a:xfrm>
            <a:off x="6037256" y="3083865"/>
            <a:ext cx="1523456" cy="838117"/>
            <a:chOff x="6037256" y="1291698"/>
            <a:chExt cx="1523456" cy="838117"/>
          </a:xfrm>
        </p:grpSpPr>
        <p:sp>
          <p:nvSpPr>
            <p:cNvPr id="283" name="Rectangle 282"/>
            <p:cNvSpPr/>
            <p:nvPr/>
          </p:nvSpPr>
          <p:spPr>
            <a:xfrm>
              <a:off x="6037256" y="1291698"/>
              <a:ext cx="1523456" cy="822310"/>
            </a:xfrm>
            <a:prstGeom prst="rect">
              <a:avLst/>
            </a:prstGeom>
            <a:solidFill>
              <a:schemeClr val="accent5"/>
            </a:solidFill>
            <a:ln w="127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 dirty="0" smtClean="0">
                <a:solidFill>
                  <a:schemeClr val="tx2"/>
                </a:solidFill>
              </a:endParaRPr>
            </a:p>
          </p:txBody>
        </p:sp>
        <p:sp>
          <p:nvSpPr>
            <p:cNvPr id="284" name="TextBox 283"/>
            <p:cNvSpPr txBox="1"/>
            <p:nvPr/>
          </p:nvSpPr>
          <p:spPr>
            <a:xfrm>
              <a:off x="6037256" y="1883594"/>
              <a:ext cx="1523455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 dirty="0" smtClean="0"/>
                <a:t>CA Mainframe</a:t>
              </a:r>
              <a:endParaRPr lang="en-US" sz="1000" dirty="0"/>
            </a:p>
          </p:txBody>
        </p:sp>
        <p:sp>
          <p:nvSpPr>
            <p:cNvPr id="285" name="Rectangle 284"/>
            <p:cNvSpPr/>
            <p:nvPr/>
          </p:nvSpPr>
          <p:spPr>
            <a:xfrm>
              <a:off x="6265313" y="1342474"/>
              <a:ext cx="1142999" cy="198293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000" dirty="0" smtClean="0">
                  <a:solidFill>
                    <a:schemeClr val="tx1"/>
                  </a:solidFill>
                </a:rPr>
                <a:t>Sys A</a:t>
              </a:r>
            </a:p>
          </p:txBody>
        </p:sp>
        <p:sp>
          <p:nvSpPr>
            <p:cNvPr id="286" name="TextBox 285"/>
            <p:cNvSpPr txBox="1"/>
            <p:nvPr/>
          </p:nvSpPr>
          <p:spPr>
            <a:xfrm>
              <a:off x="6717363" y="1342474"/>
              <a:ext cx="682698" cy="200055"/>
            </a:xfrm>
            <a:prstGeom prst="rect">
              <a:avLst/>
            </a:prstGeom>
            <a:solidFill>
              <a:schemeClr val="accent3">
                <a:alpha val="75000"/>
              </a:schemeClr>
            </a:solidFill>
            <a:ln>
              <a:solidFill>
                <a:schemeClr val="accent1"/>
              </a:solidFill>
            </a:ln>
          </p:spPr>
          <p:txBody>
            <a:bodyPr wrap="square" rtlCol="0">
              <a:spAutoFit/>
            </a:bodyPr>
            <a:lstStyle/>
            <a:p>
              <a:r>
                <a:rPr lang="en-US" sz="700" dirty="0" smtClean="0"/>
                <a:t>1</a:t>
              </a:r>
              <a:r>
                <a:rPr lang="en-US" sz="700" baseline="30000" dirty="0" smtClean="0"/>
                <a:t>st</a:t>
              </a:r>
              <a:r>
                <a:rPr lang="en-US" sz="700" dirty="0" smtClean="0"/>
                <a:t> Post </a:t>
              </a:r>
              <a:r>
                <a:rPr lang="en-US" sz="700" dirty="0" err="1" smtClean="0"/>
                <a:t>Req</a:t>
              </a:r>
              <a:endParaRPr lang="en-US" sz="700" dirty="0"/>
            </a:p>
          </p:txBody>
        </p:sp>
        <p:sp>
          <p:nvSpPr>
            <p:cNvPr id="287" name="Rectangle 286"/>
            <p:cNvSpPr/>
            <p:nvPr/>
          </p:nvSpPr>
          <p:spPr>
            <a:xfrm>
              <a:off x="6257062" y="1654378"/>
              <a:ext cx="1142999" cy="198293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000" dirty="0" smtClean="0">
                  <a:solidFill>
                    <a:schemeClr val="tx1"/>
                  </a:solidFill>
                </a:rPr>
                <a:t>SysB</a:t>
              </a:r>
            </a:p>
          </p:txBody>
        </p:sp>
      </p:grpSp>
      <p:grpSp>
        <p:nvGrpSpPr>
          <p:cNvPr id="288" name="Group 287"/>
          <p:cNvGrpSpPr/>
          <p:nvPr/>
        </p:nvGrpSpPr>
        <p:grpSpPr>
          <a:xfrm>
            <a:off x="3364229" y="3086635"/>
            <a:ext cx="1180760" cy="857652"/>
            <a:chOff x="2360695" y="1303957"/>
            <a:chExt cx="1435674" cy="857652"/>
          </a:xfrm>
        </p:grpSpPr>
        <p:sp>
          <p:nvSpPr>
            <p:cNvPr id="289" name="Rectangle 288"/>
            <p:cNvSpPr/>
            <p:nvPr/>
          </p:nvSpPr>
          <p:spPr>
            <a:xfrm>
              <a:off x="2367618" y="1303957"/>
              <a:ext cx="1428750" cy="825858"/>
            </a:xfrm>
            <a:prstGeom prst="rect">
              <a:avLst/>
            </a:prstGeom>
            <a:solidFill>
              <a:schemeClr val="accent5"/>
            </a:solidFill>
            <a:ln w="127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 dirty="0" err="1" smtClean="0">
                <a:solidFill>
                  <a:schemeClr val="tx2"/>
                </a:solidFill>
              </a:endParaRPr>
            </a:p>
          </p:txBody>
        </p:sp>
        <p:sp>
          <p:nvSpPr>
            <p:cNvPr id="290" name="Rectangle 289"/>
            <p:cNvSpPr/>
            <p:nvPr/>
          </p:nvSpPr>
          <p:spPr>
            <a:xfrm>
              <a:off x="2810676" y="1521749"/>
              <a:ext cx="501609" cy="354759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291" name="TextBox 290"/>
            <p:cNvSpPr txBox="1"/>
            <p:nvPr/>
          </p:nvSpPr>
          <p:spPr>
            <a:xfrm>
              <a:off x="2360695" y="1915388"/>
              <a:ext cx="1435674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 dirty="0" smtClean="0"/>
                <a:t>ESI</a:t>
              </a:r>
              <a:endParaRPr lang="en-US" sz="1000" dirty="0"/>
            </a:p>
          </p:txBody>
        </p:sp>
      </p:grpSp>
      <p:cxnSp>
        <p:nvCxnSpPr>
          <p:cNvPr id="292" name="Straight Connector 291"/>
          <p:cNvCxnSpPr>
            <a:stCxn id="276" idx="3"/>
            <a:endCxn id="285" idx="1"/>
          </p:cNvCxnSpPr>
          <p:nvPr/>
        </p:nvCxnSpPr>
        <p:spPr>
          <a:xfrm flipV="1">
            <a:off x="5451504" y="3233788"/>
            <a:ext cx="813809" cy="25444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3" name="Straight Connector 292"/>
          <p:cNvCxnSpPr>
            <a:stCxn id="276" idx="3"/>
            <a:endCxn id="287" idx="1"/>
          </p:cNvCxnSpPr>
          <p:nvPr/>
        </p:nvCxnSpPr>
        <p:spPr>
          <a:xfrm>
            <a:off x="5451504" y="3488231"/>
            <a:ext cx="805558" cy="5746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94" name="Group 293"/>
          <p:cNvGrpSpPr/>
          <p:nvPr/>
        </p:nvGrpSpPr>
        <p:grpSpPr>
          <a:xfrm>
            <a:off x="4707051" y="4196044"/>
            <a:ext cx="1191146" cy="857652"/>
            <a:chOff x="4217438" y="1300892"/>
            <a:chExt cx="1428750" cy="857652"/>
          </a:xfrm>
        </p:grpSpPr>
        <p:sp>
          <p:nvSpPr>
            <p:cNvPr id="295" name="Rectangle 294"/>
            <p:cNvSpPr/>
            <p:nvPr/>
          </p:nvSpPr>
          <p:spPr>
            <a:xfrm>
              <a:off x="4217438" y="1300892"/>
              <a:ext cx="1428750" cy="825858"/>
            </a:xfrm>
            <a:prstGeom prst="rect">
              <a:avLst/>
            </a:prstGeom>
            <a:solidFill>
              <a:schemeClr val="accent5"/>
            </a:solidFill>
            <a:ln w="127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 dirty="0" err="1" smtClean="0">
                <a:solidFill>
                  <a:schemeClr val="tx2"/>
                </a:solidFill>
              </a:endParaRPr>
            </a:p>
          </p:txBody>
        </p:sp>
        <p:sp>
          <p:nvSpPr>
            <p:cNvPr id="296" name="Rectangle 295"/>
            <p:cNvSpPr/>
            <p:nvPr/>
          </p:nvSpPr>
          <p:spPr>
            <a:xfrm>
              <a:off x="4608782" y="1518684"/>
              <a:ext cx="501609" cy="354759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297" name="TextBox 296"/>
            <p:cNvSpPr txBox="1"/>
            <p:nvPr/>
          </p:nvSpPr>
          <p:spPr>
            <a:xfrm>
              <a:off x="4217438" y="1912323"/>
              <a:ext cx="1428750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 dirty="0" smtClean="0"/>
                <a:t>Integration Layer</a:t>
              </a:r>
              <a:endParaRPr lang="en-US" sz="1000" dirty="0"/>
            </a:p>
          </p:txBody>
        </p:sp>
      </p:grpSp>
      <p:sp>
        <p:nvSpPr>
          <p:cNvPr id="298" name="Can 297"/>
          <p:cNvSpPr/>
          <p:nvPr/>
        </p:nvSpPr>
        <p:spPr>
          <a:xfrm>
            <a:off x="7847463" y="4186850"/>
            <a:ext cx="815524" cy="822309"/>
          </a:xfrm>
          <a:prstGeom prst="can">
            <a:avLst/>
          </a:prstGeom>
          <a:ln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800" dirty="0" smtClean="0">
              <a:solidFill>
                <a:schemeClr val="tx2"/>
              </a:solidFill>
            </a:endParaRPr>
          </a:p>
        </p:txBody>
      </p:sp>
      <p:cxnSp>
        <p:nvCxnSpPr>
          <p:cNvPr id="299" name="Straight Connector 298"/>
          <p:cNvCxnSpPr>
            <a:stCxn id="305" idx="3"/>
            <a:endCxn id="298" idx="2"/>
          </p:cNvCxnSpPr>
          <p:nvPr/>
        </p:nvCxnSpPr>
        <p:spPr>
          <a:xfrm>
            <a:off x="7408312" y="4336773"/>
            <a:ext cx="439151" cy="26123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0" name="Straight Connector 299"/>
          <p:cNvCxnSpPr>
            <a:stCxn id="307" idx="3"/>
            <a:endCxn id="298" idx="2"/>
          </p:cNvCxnSpPr>
          <p:nvPr/>
        </p:nvCxnSpPr>
        <p:spPr>
          <a:xfrm flipV="1">
            <a:off x="7400061" y="4598005"/>
            <a:ext cx="447402" cy="5067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1" name="TextBox 300"/>
          <p:cNvSpPr txBox="1"/>
          <p:nvPr/>
        </p:nvSpPr>
        <p:spPr>
          <a:xfrm>
            <a:off x="391193" y="4087716"/>
            <a:ext cx="2973036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/>
              <a:t>3. The 2</a:t>
            </a:r>
            <a:r>
              <a:rPr lang="en-US" sz="1200" baseline="30000" dirty="0" smtClean="0"/>
              <a:t>nd</a:t>
            </a:r>
            <a:r>
              <a:rPr lang="en-US" sz="1200" dirty="0" smtClean="0"/>
              <a:t> POST is processed first and is written to the ODS DB </a:t>
            </a:r>
          </a:p>
          <a:p>
            <a:endParaRPr lang="en-US" sz="1200" dirty="0" smtClean="0"/>
          </a:p>
          <a:p>
            <a:r>
              <a:rPr lang="en-US" sz="1200" dirty="0" smtClean="0"/>
              <a:t>(Dup Check  performed, but no duplicate found)</a:t>
            </a:r>
            <a:endParaRPr lang="en-US" sz="1200" dirty="0"/>
          </a:p>
        </p:txBody>
      </p:sp>
      <p:grpSp>
        <p:nvGrpSpPr>
          <p:cNvPr id="302" name="Group 301"/>
          <p:cNvGrpSpPr/>
          <p:nvPr/>
        </p:nvGrpSpPr>
        <p:grpSpPr>
          <a:xfrm>
            <a:off x="6037256" y="4186850"/>
            <a:ext cx="1523456" cy="838117"/>
            <a:chOff x="6037256" y="1291698"/>
            <a:chExt cx="1523456" cy="838117"/>
          </a:xfrm>
        </p:grpSpPr>
        <p:sp>
          <p:nvSpPr>
            <p:cNvPr id="303" name="Rectangle 302"/>
            <p:cNvSpPr/>
            <p:nvPr/>
          </p:nvSpPr>
          <p:spPr>
            <a:xfrm>
              <a:off x="6037256" y="1291698"/>
              <a:ext cx="1523456" cy="822310"/>
            </a:xfrm>
            <a:prstGeom prst="rect">
              <a:avLst/>
            </a:prstGeom>
            <a:solidFill>
              <a:schemeClr val="accent5"/>
            </a:solidFill>
            <a:ln w="127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 dirty="0" smtClean="0">
                <a:solidFill>
                  <a:schemeClr val="tx2"/>
                </a:solidFill>
              </a:endParaRPr>
            </a:p>
          </p:txBody>
        </p:sp>
        <p:sp>
          <p:nvSpPr>
            <p:cNvPr id="304" name="TextBox 303"/>
            <p:cNvSpPr txBox="1"/>
            <p:nvPr/>
          </p:nvSpPr>
          <p:spPr>
            <a:xfrm>
              <a:off x="6037256" y="1883594"/>
              <a:ext cx="1523455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 dirty="0" smtClean="0"/>
                <a:t>CA Mainframe</a:t>
              </a:r>
              <a:endParaRPr lang="en-US" sz="1000" dirty="0"/>
            </a:p>
          </p:txBody>
        </p:sp>
        <p:sp>
          <p:nvSpPr>
            <p:cNvPr id="305" name="Rectangle 304"/>
            <p:cNvSpPr/>
            <p:nvPr/>
          </p:nvSpPr>
          <p:spPr>
            <a:xfrm>
              <a:off x="6265313" y="1342474"/>
              <a:ext cx="1142999" cy="198293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000" dirty="0" smtClean="0">
                  <a:solidFill>
                    <a:schemeClr val="tx1"/>
                  </a:solidFill>
                </a:rPr>
                <a:t>Sys A</a:t>
              </a:r>
            </a:p>
          </p:txBody>
        </p:sp>
        <p:sp>
          <p:nvSpPr>
            <p:cNvPr id="306" name="TextBox 305"/>
            <p:cNvSpPr txBox="1"/>
            <p:nvPr/>
          </p:nvSpPr>
          <p:spPr>
            <a:xfrm>
              <a:off x="6717363" y="1342474"/>
              <a:ext cx="682698" cy="215444"/>
            </a:xfrm>
            <a:prstGeom prst="rect">
              <a:avLst/>
            </a:prstGeom>
            <a:solidFill>
              <a:schemeClr val="accent3">
                <a:alpha val="75000"/>
              </a:schemeClr>
            </a:solidFill>
            <a:ln>
              <a:solidFill>
                <a:schemeClr val="accent1"/>
              </a:solidFill>
            </a:ln>
          </p:spPr>
          <p:txBody>
            <a:bodyPr wrap="square" rtlCol="0">
              <a:spAutoFit/>
            </a:bodyPr>
            <a:lstStyle/>
            <a:p>
              <a:r>
                <a:rPr lang="en-US" sz="800" dirty="0" smtClean="0"/>
                <a:t>1</a:t>
              </a:r>
              <a:r>
                <a:rPr lang="en-US" sz="800" baseline="30000" dirty="0" smtClean="0"/>
                <a:t>st</a:t>
              </a:r>
              <a:r>
                <a:rPr lang="en-US" sz="800" dirty="0" smtClean="0"/>
                <a:t> Post </a:t>
              </a:r>
              <a:r>
                <a:rPr lang="en-US" sz="800" dirty="0" err="1" smtClean="0"/>
                <a:t>Req</a:t>
              </a:r>
              <a:endParaRPr lang="en-US" sz="800" dirty="0"/>
            </a:p>
          </p:txBody>
        </p:sp>
        <p:sp>
          <p:nvSpPr>
            <p:cNvPr id="307" name="Rectangle 306"/>
            <p:cNvSpPr/>
            <p:nvPr/>
          </p:nvSpPr>
          <p:spPr>
            <a:xfrm>
              <a:off x="6257062" y="1654378"/>
              <a:ext cx="1142999" cy="198293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000" dirty="0" smtClean="0">
                  <a:solidFill>
                    <a:schemeClr val="tx1"/>
                  </a:solidFill>
                </a:rPr>
                <a:t>SysB</a:t>
              </a:r>
            </a:p>
          </p:txBody>
        </p:sp>
      </p:grpSp>
      <p:grpSp>
        <p:nvGrpSpPr>
          <p:cNvPr id="308" name="Group 307"/>
          <p:cNvGrpSpPr/>
          <p:nvPr/>
        </p:nvGrpSpPr>
        <p:grpSpPr>
          <a:xfrm>
            <a:off x="3364229" y="4189620"/>
            <a:ext cx="1180760" cy="857652"/>
            <a:chOff x="2360695" y="1303957"/>
            <a:chExt cx="1435674" cy="857652"/>
          </a:xfrm>
        </p:grpSpPr>
        <p:sp>
          <p:nvSpPr>
            <p:cNvPr id="309" name="Rectangle 308"/>
            <p:cNvSpPr/>
            <p:nvPr/>
          </p:nvSpPr>
          <p:spPr>
            <a:xfrm>
              <a:off x="2367618" y="1303957"/>
              <a:ext cx="1428750" cy="825858"/>
            </a:xfrm>
            <a:prstGeom prst="rect">
              <a:avLst/>
            </a:prstGeom>
            <a:solidFill>
              <a:schemeClr val="accent5"/>
            </a:solidFill>
            <a:ln w="127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 dirty="0" err="1" smtClean="0">
                <a:solidFill>
                  <a:schemeClr val="tx2"/>
                </a:solidFill>
              </a:endParaRPr>
            </a:p>
          </p:txBody>
        </p:sp>
        <p:sp>
          <p:nvSpPr>
            <p:cNvPr id="310" name="Rectangle 309"/>
            <p:cNvSpPr/>
            <p:nvPr/>
          </p:nvSpPr>
          <p:spPr>
            <a:xfrm>
              <a:off x="2810676" y="1521749"/>
              <a:ext cx="501609" cy="354759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311" name="TextBox 310"/>
            <p:cNvSpPr txBox="1"/>
            <p:nvPr/>
          </p:nvSpPr>
          <p:spPr>
            <a:xfrm>
              <a:off x="2360695" y="1915388"/>
              <a:ext cx="1435674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 dirty="0" smtClean="0"/>
                <a:t>ESI</a:t>
              </a:r>
              <a:endParaRPr lang="en-US" sz="1000" dirty="0"/>
            </a:p>
          </p:txBody>
        </p:sp>
      </p:grpSp>
      <p:cxnSp>
        <p:nvCxnSpPr>
          <p:cNvPr id="312" name="Straight Connector 311"/>
          <p:cNvCxnSpPr>
            <a:stCxn id="296" idx="3"/>
            <a:endCxn id="305" idx="1"/>
          </p:cNvCxnSpPr>
          <p:nvPr/>
        </p:nvCxnSpPr>
        <p:spPr>
          <a:xfrm flipV="1">
            <a:off x="5451504" y="4336773"/>
            <a:ext cx="813809" cy="25444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3" name="Straight Connector 312"/>
          <p:cNvCxnSpPr>
            <a:stCxn id="296" idx="3"/>
            <a:endCxn id="307" idx="1"/>
          </p:cNvCxnSpPr>
          <p:nvPr/>
        </p:nvCxnSpPr>
        <p:spPr>
          <a:xfrm>
            <a:off x="5451504" y="4591216"/>
            <a:ext cx="805558" cy="5746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14" name="Group 313"/>
          <p:cNvGrpSpPr/>
          <p:nvPr/>
        </p:nvGrpSpPr>
        <p:grpSpPr>
          <a:xfrm>
            <a:off x="4741930" y="5257725"/>
            <a:ext cx="1191146" cy="857652"/>
            <a:chOff x="4217438" y="1300892"/>
            <a:chExt cx="1428750" cy="857652"/>
          </a:xfrm>
        </p:grpSpPr>
        <p:sp>
          <p:nvSpPr>
            <p:cNvPr id="315" name="Rectangle 314"/>
            <p:cNvSpPr/>
            <p:nvPr/>
          </p:nvSpPr>
          <p:spPr>
            <a:xfrm>
              <a:off x="4217438" y="1300892"/>
              <a:ext cx="1428750" cy="825858"/>
            </a:xfrm>
            <a:prstGeom prst="rect">
              <a:avLst/>
            </a:prstGeom>
            <a:solidFill>
              <a:schemeClr val="accent5"/>
            </a:solidFill>
            <a:ln w="127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 dirty="0" err="1" smtClean="0">
                <a:solidFill>
                  <a:schemeClr val="tx2"/>
                </a:solidFill>
              </a:endParaRPr>
            </a:p>
          </p:txBody>
        </p:sp>
        <p:sp>
          <p:nvSpPr>
            <p:cNvPr id="316" name="Rectangle 315"/>
            <p:cNvSpPr/>
            <p:nvPr/>
          </p:nvSpPr>
          <p:spPr>
            <a:xfrm>
              <a:off x="4608782" y="1518684"/>
              <a:ext cx="501609" cy="354759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317" name="TextBox 316"/>
            <p:cNvSpPr txBox="1"/>
            <p:nvPr/>
          </p:nvSpPr>
          <p:spPr>
            <a:xfrm>
              <a:off x="4217438" y="1912323"/>
              <a:ext cx="1428750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 dirty="0" smtClean="0"/>
                <a:t>Integration Layer</a:t>
              </a:r>
              <a:endParaRPr lang="en-US" sz="1000" dirty="0"/>
            </a:p>
          </p:txBody>
        </p:sp>
      </p:grpSp>
      <p:sp>
        <p:nvSpPr>
          <p:cNvPr id="318" name="Can 317"/>
          <p:cNvSpPr/>
          <p:nvPr/>
        </p:nvSpPr>
        <p:spPr>
          <a:xfrm>
            <a:off x="7882342" y="5248531"/>
            <a:ext cx="815524" cy="822309"/>
          </a:xfrm>
          <a:prstGeom prst="can">
            <a:avLst/>
          </a:prstGeom>
          <a:ln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800" dirty="0" smtClean="0">
              <a:solidFill>
                <a:schemeClr val="tx2"/>
              </a:solidFill>
            </a:endParaRPr>
          </a:p>
        </p:txBody>
      </p:sp>
      <p:cxnSp>
        <p:nvCxnSpPr>
          <p:cNvPr id="319" name="Straight Connector 318"/>
          <p:cNvCxnSpPr>
            <a:stCxn id="325" idx="3"/>
            <a:endCxn id="318" idx="2"/>
          </p:cNvCxnSpPr>
          <p:nvPr/>
        </p:nvCxnSpPr>
        <p:spPr>
          <a:xfrm>
            <a:off x="7443191" y="5398454"/>
            <a:ext cx="439151" cy="26123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0" name="Straight Connector 319"/>
          <p:cNvCxnSpPr>
            <a:stCxn id="327" idx="3"/>
            <a:endCxn id="318" idx="2"/>
          </p:cNvCxnSpPr>
          <p:nvPr/>
        </p:nvCxnSpPr>
        <p:spPr>
          <a:xfrm flipV="1">
            <a:off x="7434940" y="5659686"/>
            <a:ext cx="447402" cy="5067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1" name="TextBox 320"/>
          <p:cNvSpPr txBox="1"/>
          <p:nvPr/>
        </p:nvSpPr>
        <p:spPr>
          <a:xfrm>
            <a:off x="426072" y="5171374"/>
            <a:ext cx="2973036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/>
              <a:t>4. The 1</a:t>
            </a:r>
            <a:r>
              <a:rPr lang="en-US" sz="1200" baseline="30000" dirty="0" smtClean="0"/>
              <a:t>st</a:t>
            </a:r>
            <a:r>
              <a:rPr lang="en-US" sz="1200" dirty="0" smtClean="0"/>
              <a:t> POST is written as a duplicate to the ODS</a:t>
            </a:r>
          </a:p>
          <a:p>
            <a:endParaRPr lang="en-US" sz="1200" dirty="0" smtClean="0"/>
          </a:p>
          <a:p>
            <a:r>
              <a:rPr lang="en-US" sz="1200" dirty="0" smtClean="0"/>
              <a:t>(Dup Check not performed since SEND Counter = 0)</a:t>
            </a:r>
            <a:endParaRPr lang="en-US" sz="1200" dirty="0"/>
          </a:p>
        </p:txBody>
      </p:sp>
      <p:grpSp>
        <p:nvGrpSpPr>
          <p:cNvPr id="322" name="Group 321"/>
          <p:cNvGrpSpPr/>
          <p:nvPr/>
        </p:nvGrpSpPr>
        <p:grpSpPr>
          <a:xfrm>
            <a:off x="6072135" y="5248531"/>
            <a:ext cx="1523456" cy="838117"/>
            <a:chOff x="6037256" y="1291698"/>
            <a:chExt cx="1523456" cy="838117"/>
          </a:xfrm>
        </p:grpSpPr>
        <p:sp>
          <p:nvSpPr>
            <p:cNvPr id="323" name="Rectangle 322"/>
            <p:cNvSpPr/>
            <p:nvPr/>
          </p:nvSpPr>
          <p:spPr>
            <a:xfrm>
              <a:off x="6037256" y="1291698"/>
              <a:ext cx="1523456" cy="822310"/>
            </a:xfrm>
            <a:prstGeom prst="rect">
              <a:avLst/>
            </a:prstGeom>
            <a:solidFill>
              <a:schemeClr val="accent5"/>
            </a:solidFill>
            <a:ln w="127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 dirty="0" smtClean="0">
                <a:solidFill>
                  <a:schemeClr val="tx2"/>
                </a:solidFill>
              </a:endParaRPr>
            </a:p>
          </p:txBody>
        </p:sp>
        <p:sp>
          <p:nvSpPr>
            <p:cNvPr id="324" name="TextBox 323"/>
            <p:cNvSpPr txBox="1"/>
            <p:nvPr/>
          </p:nvSpPr>
          <p:spPr>
            <a:xfrm>
              <a:off x="6037256" y="1883594"/>
              <a:ext cx="1523455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 dirty="0" smtClean="0"/>
                <a:t>CA Mainframe</a:t>
              </a:r>
              <a:endParaRPr lang="en-US" sz="1000" dirty="0"/>
            </a:p>
          </p:txBody>
        </p:sp>
        <p:sp>
          <p:nvSpPr>
            <p:cNvPr id="325" name="Rectangle 324"/>
            <p:cNvSpPr/>
            <p:nvPr/>
          </p:nvSpPr>
          <p:spPr>
            <a:xfrm>
              <a:off x="6265313" y="1342474"/>
              <a:ext cx="1142999" cy="198293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000" dirty="0" smtClean="0">
                  <a:solidFill>
                    <a:schemeClr val="tx1"/>
                  </a:solidFill>
                </a:rPr>
                <a:t>Sys A</a:t>
              </a:r>
            </a:p>
          </p:txBody>
        </p:sp>
        <p:sp>
          <p:nvSpPr>
            <p:cNvPr id="327" name="Rectangle 326"/>
            <p:cNvSpPr/>
            <p:nvPr/>
          </p:nvSpPr>
          <p:spPr>
            <a:xfrm>
              <a:off x="6257062" y="1654378"/>
              <a:ext cx="1142999" cy="198293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000" dirty="0" smtClean="0">
                  <a:solidFill>
                    <a:schemeClr val="tx1"/>
                  </a:solidFill>
                </a:rPr>
                <a:t>SysB</a:t>
              </a:r>
            </a:p>
          </p:txBody>
        </p:sp>
      </p:grpSp>
      <p:grpSp>
        <p:nvGrpSpPr>
          <p:cNvPr id="328" name="Group 327"/>
          <p:cNvGrpSpPr/>
          <p:nvPr/>
        </p:nvGrpSpPr>
        <p:grpSpPr>
          <a:xfrm>
            <a:off x="3399108" y="5251301"/>
            <a:ext cx="1180760" cy="857652"/>
            <a:chOff x="2360695" y="1303957"/>
            <a:chExt cx="1435674" cy="857652"/>
          </a:xfrm>
        </p:grpSpPr>
        <p:sp>
          <p:nvSpPr>
            <p:cNvPr id="329" name="Rectangle 328"/>
            <p:cNvSpPr/>
            <p:nvPr/>
          </p:nvSpPr>
          <p:spPr>
            <a:xfrm>
              <a:off x="2367618" y="1303957"/>
              <a:ext cx="1428750" cy="825858"/>
            </a:xfrm>
            <a:prstGeom prst="rect">
              <a:avLst/>
            </a:prstGeom>
            <a:solidFill>
              <a:schemeClr val="accent5"/>
            </a:solidFill>
            <a:ln w="127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 dirty="0" err="1" smtClean="0">
                <a:solidFill>
                  <a:schemeClr val="tx2"/>
                </a:solidFill>
              </a:endParaRPr>
            </a:p>
          </p:txBody>
        </p:sp>
        <p:sp>
          <p:nvSpPr>
            <p:cNvPr id="330" name="Rectangle 329"/>
            <p:cNvSpPr/>
            <p:nvPr/>
          </p:nvSpPr>
          <p:spPr>
            <a:xfrm>
              <a:off x="2810676" y="1521749"/>
              <a:ext cx="501609" cy="354759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331" name="TextBox 330"/>
            <p:cNvSpPr txBox="1"/>
            <p:nvPr/>
          </p:nvSpPr>
          <p:spPr>
            <a:xfrm>
              <a:off x="2360695" y="1915388"/>
              <a:ext cx="1435674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 dirty="0" smtClean="0"/>
                <a:t>ESI</a:t>
              </a:r>
              <a:endParaRPr lang="en-US" sz="1000" dirty="0"/>
            </a:p>
          </p:txBody>
        </p:sp>
      </p:grpSp>
      <p:cxnSp>
        <p:nvCxnSpPr>
          <p:cNvPr id="332" name="Straight Connector 331"/>
          <p:cNvCxnSpPr>
            <a:stCxn id="316" idx="3"/>
            <a:endCxn id="325" idx="1"/>
          </p:cNvCxnSpPr>
          <p:nvPr/>
        </p:nvCxnSpPr>
        <p:spPr>
          <a:xfrm flipV="1">
            <a:off x="5486383" y="5398454"/>
            <a:ext cx="813809" cy="25444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3" name="Straight Connector 332"/>
          <p:cNvCxnSpPr>
            <a:stCxn id="316" idx="3"/>
            <a:endCxn id="327" idx="1"/>
          </p:cNvCxnSpPr>
          <p:nvPr/>
        </p:nvCxnSpPr>
        <p:spPr>
          <a:xfrm>
            <a:off x="5486383" y="5652897"/>
            <a:ext cx="805558" cy="5746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6" name="TextBox 335"/>
          <p:cNvSpPr txBox="1"/>
          <p:nvPr/>
        </p:nvSpPr>
        <p:spPr>
          <a:xfrm>
            <a:off x="6717363" y="3437969"/>
            <a:ext cx="682698" cy="200055"/>
          </a:xfrm>
          <a:prstGeom prst="rect">
            <a:avLst/>
          </a:prstGeom>
          <a:solidFill>
            <a:schemeClr val="accent3">
              <a:alpha val="75000"/>
            </a:schemeClr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en-US" sz="700" dirty="0" smtClean="0"/>
              <a:t>2nd Post </a:t>
            </a:r>
            <a:r>
              <a:rPr lang="en-US" sz="700" dirty="0" err="1" smtClean="0"/>
              <a:t>Req</a:t>
            </a:r>
            <a:endParaRPr lang="en-US" sz="700" dirty="0"/>
          </a:p>
        </p:txBody>
      </p:sp>
      <p:sp>
        <p:nvSpPr>
          <p:cNvPr id="337" name="TextBox 336"/>
          <p:cNvSpPr txBox="1"/>
          <p:nvPr/>
        </p:nvSpPr>
        <p:spPr>
          <a:xfrm>
            <a:off x="7913876" y="4426087"/>
            <a:ext cx="682698" cy="200055"/>
          </a:xfrm>
          <a:prstGeom prst="rect">
            <a:avLst/>
          </a:prstGeom>
          <a:solidFill>
            <a:schemeClr val="accent3">
              <a:alpha val="75000"/>
            </a:schemeClr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en-US" sz="700" dirty="0" smtClean="0"/>
              <a:t>2nd Post </a:t>
            </a:r>
            <a:r>
              <a:rPr lang="en-US" sz="700" dirty="0" err="1" smtClean="0"/>
              <a:t>Req</a:t>
            </a:r>
            <a:endParaRPr lang="en-US" sz="700" dirty="0"/>
          </a:p>
        </p:txBody>
      </p:sp>
      <p:sp>
        <p:nvSpPr>
          <p:cNvPr id="338" name="TextBox 337"/>
          <p:cNvSpPr txBox="1"/>
          <p:nvPr/>
        </p:nvSpPr>
        <p:spPr>
          <a:xfrm>
            <a:off x="7948755" y="5493087"/>
            <a:ext cx="682698" cy="200055"/>
          </a:xfrm>
          <a:prstGeom prst="rect">
            <a:avLst/>
          </a:prstGeom>
          <a:solidFill>
            <a:schemeClr val="accent3">
              <a:alpha val="75000"/>
            </a:schemeClr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en-US" sz="700" dirty="0" smtClean="0"/>
              <a:t>2nd Post </a:t>
            </a:r>
            <a:r>
              <a:rPr lang="en-US" sz="700" dirty="0" err="1" smtClean="0"/>
              <a:t>Req</a:t>
            </a:r>
            <a:endParaRPr lang="en-US" sz="700" dirty="0"/>
          </a:p>
        </p:txBody>
      </p:sp>
      <p:sp>
        <p:nvSpPr>
          <p:cNvPr id="339" name="TextBox 338"/>
          <p:cNvSpPr txBox="1"/>
          <p:nvPr/>
        </p:nvSpPr>
        <p:spPr>
          <a:xfrm>
            <a:off x="7948755" y="5748093"/>
            <a:ext cx="682698" cy="200055"/>
          </a:xfrm>
          <a:prstGeom prst="rect">
            <a:avLst/>
          </a:prstGeom>
          <a:solidFill>
            <a:schemeClr val="accent3">
              <a:alpha val="75000"/>
            </a:schemeClr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en-US" sz="700" dirty="0" smtClean="0"/>
              <a:t>1</a:t>
            </a:r>
            <a:r>
              <a:rPr lang="en-US" sz="700" baseline="30000" dirty="0" smtClean="0"/>
              <a:t>st</a:t>
            </a:r>
            <a:r>
              <a:rPr lang="en-US" sz="700" dirty="0" smtClean="0"/>
              <a:t> Post </a:t>
            </a:r>
            <a:r>
              <a:rPr lang="en-US" sz="700" dirty="0" err="1" smtClean="0"/>
              <a:t>Req</a:t>
            </a:r>
            <a:endParaRPr lang="en-US" sz="700" dirty="0"/>
          </a:p>
        </p:txBody>
      </p:sp>
      <p:cxnSp>
        <p:nvCxnSpPr>
          <p:cNvPr id="4" name="Straight Arrow Connector 3"/>
          <p:cNvCxnSpPr>
            <a:endCxn id="12" idx="1"/>
          </p:cNvCxnSpPr>
          <p:nvPr/>
        </p:nvCxnSpPr>
        <p:spPr>
          <a:xfrm>
            <a:off x="4157491" y="2285087"/>
            <a:ext cx="875823" cy="6425"/>
          </a:xfrm>
          <a:prstGeom prst="straightConnector1">
            <a:avLst/>
          </a:prstGeom>
          <a:ln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Arrow Connector 7"/>
          <p:cNvCxnSpPr>
            <a:stCxn id="290" idx="3"/>
            <a:endCxn id="276" idx="1"/>
          </p:cNvCxnSpPr>
          <p:nvPr/>
        </p:nvCxnSpPr>
        <p:spPr>
          <a:xfrm>
            <a:off x="4146858" y="3481807"/>
            <a:ext cx="886456" cy="6424"/>
          </a:xfrm>
          <a:prstGeom prst="straightConnector1">
            <a:avLst/>
          </a:prstGeom>
          <a:ln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Arrow Connector 9"/>
          <p:cNvCxnSpPr>
            <a:stCxn id="310" idx="3"/>
            <a:endCxn id="296" idx="1"/>
          </p:cNvCxnSpPr>
          <p:nvPr/>
        </p:nvCxnSpPr>
        <p:spPr>
          <a:xfrm>
            <a:off x="4146858" y="4584792"/>
            <a:ext cx="886456" cy="6424"/>
          </a:xfrm>
          <a:prstGeom prst="straightConnector1">
            <a:avLst/>
          </a:prstGeom>
          <a:ln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/>
          <p:cNvCxnSpPr>
            <a:stCxn id="330" idx="3"/>
            <a:endCxn id="316" idx="1"/>
          </p:cNvCxnSpPr>
          <p:nvPr/>
        </p:nvCxnSpPr>
        <p:spPr>
          <a:xfrm>
            <a:off x="4181737" y="5646473"/>
            <a:ext cx="886456" cy="6424"/>
          </a:xfrm>
          <a:prstGeom prst="straightConnector1">
            <a:avLst/>
          </a:prstGeom>
          <a:ln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181901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Improvement </a:t>
            </a:r>
            <a:r>
              <a:rPr lang="en-US" sz="2400" dirty="0" smtClean="0"/>
              <a:t>#2: Implement Controls to Eliminate Dups</a:t>
            </a:r>
            <a:endParaRPr lang="en-US" sz="2400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OMPANY CONFIDENTIAL  |  FOR INTERNAL USE ONLY  |  DO NOT COPY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2DCB2D-F3A1-47AC-A248-15826C4C808C}" type="slidenum">
              <a:rPr lang="en-US" smtClean="0"/>
              <a:pPr/>
              <a:t>12</a:t>
            </a:fld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1512279" y="2364866"/>
            <a:ext cx="1688122" cy="560728"/>
          </a:xfrm>
          <a:prstGeom prst="rect">
            <a:avLst/>
          </a:prstGeom>
          <a:solidFill>
            <a:schemeClr val="accent5"/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 err="1" smtClean="0">
              <a:solidFill>
                <a:schemeClr val="tx2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2127436" y="2506472"/>
            <a:ext cx="412545" cy="277515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 smtClean="0">
              <a:solidFill>
                <a:schemeClr val="tx1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2460905" y="2744431"/>
            <a:ext cx="83630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dirty="0"/>
              <a:t>Consumer</a:t>
            </a:r>
          </a:p>
        </p:txBody>
      </p:sp>
      <p:sp>
        <p:nvSpPr>
          <p:cNvPr id="10" name="Rectangle 9"/>
          <p:cNvSpPr/>
          <p:nvPr/>
        </p:nvSpPr>
        <p:spPr>
          <a:xfrm>
            <a:off x="1512278" y="3105261"/>
            <a:ext cx="1688122" cy="559432"/>
          </a:xfrm>
          <a:prstGeom prst="rect">
            <a:avLst/>
          </a:prstGeom>
          <a:solidFill>
            <a:schemeClr val="accent5"/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 err="1" smtClean="0">
              <a:solidFill>
                <a:schemeClr val="tx2"/>
              </a:solidFill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2119353" y="3252792"/>
            <a:ext cx="418190" cy="240312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 smtClean="0">
              <a:solidFill>
                <a:schemeClr val="tx1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2597587" y="3450779"/>
            <a:ext cx="66319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dirty="0" err="1" smtClean="0"/>
              <a:t>Int</a:t>
            </a:r>
            <a:r>
              <a:rPr lang="en-US" sz="1000" dirty="0" smtClean="0"/>
              <a:t> Layer</a:t>
            </a:r>
            <a:endParaRPr lang="en-US" sz="1000" dirty="0"/>
          </a:p>
        </p:txBody>
      </p:sp>
      <p:sp>
        <p:nvSpPr>
          <p:cNvPr id="14" name="Rectangle 13"/>
          <p:cNvSpPr/>
          <p:nvPr/>
        </p:nvSpPr>
        <p:spPr>
          <a:xfrm>
            <a:off x="621102" y="3954929"/>
            <a:ext cx="3579962" cy="1470389"/>
          </a:xfrm>
          <a:prstGeom prst="rect">
            <a:avLst/>
          </a:prstGeom>
          <a:solidFill>
            <a:schemeClr val="accent5"/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 smtClean="0">
              <a:solidFill>
                <a:schemeClr val="tx2"/>
              </a:solidFill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3251662" y="5179097"/>
            <a:ext cx="97117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dirty="0" smtClean="0"/>
              <a:t>CA Mainframe</a:t>
            </a:r>
            <a:endParaRPr lang="en-US" sz="1000" dirty="0"/>
          </a:p>
        </p:txBody>
      </p:sp>
      <p:sp>
        <p:nvSpPr>
          <p:cNvPr id="16" name="Rectangle 15"/>
          <p:cNvSpPr/>
          <p:nvPr/>
        </p:nvSpPr>
        <p:spPr>
          <a:xfrm>
            <a:off x="2523771" y="4346322"/>
            <a:ext cx="1513391" cy="751898"/>
          </a:xfrm>
          <a:prstGeom prst="rect">
            <a:avLst/>
          </a:prstGeom>
          <a:solidFill>
            <a:schemeClr val="accent1">
              <a:lumMod val="40000"/>
              <a:lumOff val="60000"/>
              <a:alpha val="76000"/>
            </a:schemeClr>
          </a:solidFill>
          <a:ln w="12700">
            <a:solidFill>
              <a:schemeClr val="accent1">
                <a:shade val="95000"/>
                <a:satMod val="10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1000" dirty="0" smtClean="0">
                <a:solidFill>
                  <a:schemeClr val="tx1"/>
                </a:solidFill>
              </a:rPr>
              <a:t>SysB</a:t>
            </a:r>
          </a:p>
        </p:txBody>
      </p:sp>
      <p:sp>
        <p:nvSpPr>
          <p:cNvPr id="23" name="Can 22"/>
          <p:cNvSpPr/>
          <p:nvPr/>
        </p:nvSpPr>
        <p:spPr>
          <a:xfrm>
            <a:off x="2108103" y="5494610"/>
            <a:ext cx="509512" cy="603251"/>
          </a:xfrm>
          <a:prstGeom prst="can">
            <a:avLst/>
          </a:prstGeom>
          <a:ln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800" dirty="0" smtClean="0">
                <a:solidFill>
                  <a:schemeClr val="tx2"/>
                </a:solidFill>
              </a:rPr>
              <a:t>AccumODS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551783" y="1313760"/>
            <a:ext cx="3750908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 smtClean="0"/>
              <a:t>Curr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/>
              <a:t>Duplicate check only performed when SEND counter ≥ </a:t>
            </a:r>
            <a:r>
              <a:rPr lang="en-US" sz="1400" dirty="0"/>
              <a:t>1</a:t>
            </a:r>
            <a:endParaRPr lang="en-US" sz="1400" dirty="0" smtClean="0"/>
          </a:p>
        </p:txBody>
      </p:sp>
      <p:sp>
        <p:nvSpPr>
          <p:cNvPr id="26" name="TextBox 25"/>
          <p:cNvSpPr txBox="1"/>
          <p:nvPr/>
        </p:nvSpPr>
        <p:spPr>
          <a:xfrm>
            <a:off x="4805710" y="1313759"/>
            <a:ext cx="3919319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 smtClean="0"/>
              <a:t>Futur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Duplicate check </a:t>
            </a:r>
            <a:r>
              <a:rPr lang="en-US" sz="1400" dirty="0" smtClean="0"/>
              <a:t>always performed</a:t>
            </a:r>
            <a:endParaRPr lang="en-US" sz="1400" dirty="0"/>
          </a:p>
        </p:txBody>
      </p:sp>
      <p:cxnSp>
        <p:nvCxnSpPr>
          <p:cNvPr id="28" name="Straight Arrow Connector 27"/>
          <p:cNvCxnSpPr>
            <a:stCxn id="7" idx="2"/>
            <a:endCxn id="11" idx="0"/>
          </p:cNvCxnSpPr>
          <p:nvPr/>
        </p:nvCxnSpPr>
        <p:spPr>
          <a:xfrm flipH="1">
            <a:off x="2328448" y="2783986"/>
            <a:ext cx="5261" cy="468806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Arrow Connector 29"/>
          <p:cNvCxnSpPr>
            <a:endCxn id="44" idx="0"/>
          </p:cNvCxnSpPr>
          <p:nvPr/>
        </p:nvCxnSpPr>
        <p:spPr>
          <a:xfrm flipH="1">
            <a:off x="1424774" y="3493104"/>
            <a:ext cx="903674" cy="853218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45" idx="2"/>
            <a:endCxn id="23" idx="2"/>
          </p:cNvCxnSpPr>
          <p:nvPr/>
        </p:nvCxnSpPr>
        <p:spPr>
          <a:xfrm>
            <a:off x="1424562" y="4934373"/>
            <a:ext cx="683541" cy="861863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/>
          <p:cNvCxnSpPr/>
          <p:nvPr/>
        </p:nvCxnSpPr>
        <p:spPr>
          <a:xfrm>
            <a:off x="4598983" y="1644173"/>
            <a:ext cx="0" cy="435378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Rectangle 43"/>
          <p:cNvSpPr/>
          <p:nvPr/>
        </p:nvSpPr>
        <p:spPr>
          <a:xfrm>
            <a:off x="698740" y="4346322"/>
            <a:ext cx="1452067" cy="751898"/>
          </a:xfrm>
          <a:prstGeom prst="rect">
            <a:avLst/>
          </a:prstGeom>
          <a:solidFill>
            <a:schemeClr val="accent1">
              <a:lumMod val="40000"/>
              <a:lumOff val="60000"/>
              <a:alpha val="76000"/>
            </a:schemeClr>
          </a:solidFill>
          <a:ln w="12700">
            <a:solidFill>
              <a:schemeClr val="accent1">
                <a:shade val="95000"/>
                <a:satMod val="10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1000" dirty="0" smtClean="0">
                <a:solidFill>
                  <a:schemeClr val="tx1"/>
                </a:solidFill>
              </a:rPr>
              <a:t>SysA</a:t>
            </a:r>
          </a:p>
        </p:txBody>
      </p:sp>
      <p:sp>
        <p:nvSpPr>
          <p:cNvPr id="45" name="Rectangle 44"/>
          <p:cNvSpPr/>
          <p:nvPr/>
        </p:nvSpPr>
        <p:spPr>
          <a:xfrm>
            <a:off x="758699" y="4656858"/>
            <a:ext cx="1331726" cy="27751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>
                <a:solidFill>
                  <a:schemeClr val="tx1"/>
                </a:solidFill>
              </a:rPr>
              <a:t>Dup  Check when Send Counter  ≥ 1</a:t>
            </a:r>
          </a:p>
        </p:txBody>
      </p:sp>
      <p:sp>
        <p:nvSpPr>
          <p:cNvPr id="46" name="Rectangle 45"/>
          <p:cNvSpPr/>
          <p:nvPr/>
        </p:nvSpPr>
        <p:spPr>
          <a:xfrm>
            <a:off x="2630733" y="4674532"/>
            <a:ext cx="1331726" cy="27751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>
                <a:solidFill>
                  <a:schemeClr val="tx1"/>
                </a:solidFill>
              </a:rPr>
              <a:t>Dup  Check when Send Counter  ≥ 1</a:t>
            </a:r>
          </a:p>
        </p:txBody>
      </p:sp>
      <p:cxnSp>
        <p:nvCxnSpPr>
          <p:cNvPr id="17" name="Straight Arrow Connector 16"/>
          <p:cNvCxnSpPr>
            <a:stCxn id="46" idx="2"/>
            <a:endCxn id="23" idx="4"/>
          </p:cNvCxnSpPr>
          <p:nvPr/>
        </p:nvCxnSpPr>
        <p:spPr>
          <a:xfrm flipH="1">
            <a:off x="2617615" y="4952047"/>
            <a:ext cx="678981" cy="844189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Arrow Connector 21"/>
          <p:cNvCxnSpPr>
            <a:stCxn id="11" idx="2"/>
            <a:endCxn id="16" idx="0"/>
          </p:cNvCxnSpPr>
          <p:nvPr/>
        </p:nvCxnSpPr>
        <p:spPr>
          <a:xfrm>
            <a:off x="2328448" y="3493104"/>
            <a:ext cx="952019" cy="853218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Rectangle 65"/>
          <p:cNvSpPr/>
          <p:nvPr/>
        </p:nvSpPr>
        <p:spPr>
          <a:xfrm>
            <a:off x="5866565" y="2329650"/>
            <a:ext cx="1688122" cy="560728"/>
          </a:xfrm>
          <a:prstGeom prst="rect">
            <a:avLst/>
          </a:prstGeom>
          <a:solidFill>
            <a:schemeClr val="accent5"/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 err="1" smtClean="0">
              <a:solidFill>
                <a:schemeClr val="tx2"/>
              </a:solidFill>
            </a:endParaRPr>
          </a:p>
        </p:txBody>
      </p:sp>
      <p:sp>
        <p:nvSpPr>
          <p:cNvPr id="67" name="Rectangle 66"/>
          <p:cNvSpPr/>
          <p:nvPr/>
        </p:nvSpPr>
        <p:spPr>
          <a:xfrm>
            <a:off x="6481722" y="2471256"/>
            <a:ext cx="412545" cy="277515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 smtClean="0">
              <a:solidFill>
                <a:schemeClr val="tx1"/>
              </a:solidFill>
            </a:endParaRPr>
          </a:p>
        </p:txBody>
      </p:sp>
      <p:sp>
        <p:nvSpPr>
          <p:cNvPr id="68" name="TextBox 67"/>
          <p:cNvSpPr txBox="1"/>
          <p:nvPr/>
        </p:nvSpPr>
        <p:spPr>
          <a:xfrm>
            <a:off x="6815191" y="2709215"/>
            <a:ext cx="83630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dirty="0"/>
              <a:t>Consumer</a:t>
            </a:r>
          </a:p>
        </p:txBody>
      </p:sp>
      <p:sp>
        <p:nvSpPr>
          <p:cNvPr id="79" name="Rectangle 78"/>
          <p:cNvSpPr/>
          <p:nvPr/>
        </p:nvSpPr>
        <p:spPr>
          <a:xfrm>
            <a:off x="5866564" y="3070045"/>
            <a:ext cx="1688122" cy="559432"/>
          </a:xfrm>
          <a:prstGeom prst="rect">
            <a:avLst/>
          </a:prstGeom>
          <a:solidFill>
            <a:schemeClr val="accent5"/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 err="1" smtClean="0">
              <a:solidFill>
                <a:schemeClr val="tx2"/>
              </a:solidFill>
            </a:endParaRPr>
          </a:p>
        </p:txBody>
      </p:sp>
      <p:sp>
        <p:nvSpPr>
          <p:cNvPr id="81" name="Rectangle 80"/>
          <p:cNvSpPr/>
          <p:nvPr/>
        </p:nvSpPr>
        <p:spPr>
          <a:xfrm>
            <a:off x="6473639" y="3217576"/>
            <a:ext cx="418190" cy="240312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 smtClean="0">
              <a:solidFill>
                <a:schemeClr val="tx1"/>
              </a:solidFill>
            </a:endParaRPr>
          </a:p>
        </p:txBody>
      </p:sp>
      <p:sp>
        <p:nvSpPr>
          <p:cNvPr id="86" name="TextBox 85"/>
          <p:cNvSpPr txBox="1"/>
          <p:nvPr/>
        </p:nvSpPr>
        <p:spPr>
          <a:xfrm>
            <a:off x="6951873" y="3415563"/>
            <a:ext cx="66319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dirty="0" err="1" smtClean="0"/>
              <a:t>Int</a:t>
            </a:r>
            <a:r>
              <a:rPr lang="en-US" sz="1000" dirty="0" smtClean="0"/>
              <a:t> Layer</a:t>
            </a:r>
            <a:endParaRPr lang="en-US" sz="1000" dirty="0"/>
          </a:p>
        </p:txBody>
      </p:sp>
      <p:sp>
        <p:nvSpPr>
          <p:cNvPr id="87" name="Rectangle 86"/>
          <p:cNvSpPr/>
          <p:nvPr/>
        </p:nvSpPr>
        <p:spPr>
          <a:xfrm>
            <a:off x="4975388" y="3919713"/>
            <a:ext cx="3579962" cy="1470389"/>
          </a:xfrm>
          <a:prstGeom prst="rect">
            <a:avLst/>
          </a:prstGeom>
          <a:solidFill>
            <a:schemeClr val="accent5"/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 smtClean="0">
              <a:solidFill>
                <a:schemeClr val="tx2"/>
              </a:solidFill>
            </a:endParaRPr>
          </a:p>
        </p:txBody>
      </p:sp>
      <p:sp>
        <p:nvSpPr>
          <p:cNvPr id="91" name="TextBox 90"/>
          <p:cNvSpPr txBox="1"/>
          <p:nvPr/>
        </p:nvSpPr>
        <p:spPr>
          <a:xfrm>
            <a:off x="7605948" y="5143881"/>
            <a:ext cx="97117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dirty="0" smtClean="0"/>
              <a:t>CA Mainframe</a:t>
            </a:r>
            <a:endParaRPr lang="en-US" sz="1000" dirty="0"/>
          </a:p>
        </p:txBody>
      </p:sp>
      <p:sp>
        <p:nvSpPr>
          <p:cNvPr id="92" name="Rectangle 91"/>
          <p:cNvSpPr/>
          <p:nvPr/>
        </p:nvSpPr>
        <p:spPr>
          <a:xfrm>
            <a:off x="6878057" y="4311106"/>
            <a:ext cx="1513391" cy="751898"/>
          </a:xfrm>
          <a:prstGeom prst="rect">
            <a:avLst/>
          </a:prstGeom>
          <a:solidFill>
            <a:schemeClr val="accent1">
              <a:lumMod val="40000"/>
              <a:lumOff val="60000"/>
              <a:alpha val="76000"/>
            </a:schemeClr>
          </a:solidFill>
          <a:ln w="12700">
            <a:solidFill>
              <a:schemeClr val="accent1">
                <a:shade val="95000"/>
                <a:satMod val="10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1000" dirty="0" smtClean="0">
                <a:solidFill>
                  <a:schemeClr val="tx1"/>
                </a:solidFill>
              </a:rPr>
              <a:t>SysB</a:t>
            </a:r>
          </a:p>
        </p:txBody>
      </p:sp>
      <p:sp>
        <p:nvSpPr>
          <p:cNvPr id="93" name="Can 92"/>
          <p:cNvSpPr/>
          <p:nvPr/>
        </p:nvSpPr>
        <p:spPr>
          <a:xfrm>
            <a:off x="6462389" y="5459394"/>
            <a:ext cx="509512" cy="603251"/>
          </a:xfrm>
          <a:prstGeom prst="can">
            <a:avLst/>
          </a:prstGeom>
          <a:ln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800" dirty="0" smtClean="0">
                <a:solidFill>
                  <a:schemeClr val="tx2"/>
                </a:solidFill>
              </a:rPr>
              <a:t>AccumODS</a:t>
            </a:r>
          </a:p>
        </p:txBody>
      </p:sp>
      <p:cxnSp>
        <p:nvCxnSpPr>
          <p:cNvPr id="94" name="Straight Arrow Connector 93"/>
          <p:cNvCxnSpPr>
            <a:stCxn id="67" idx="2"/>
            <a:endCxn id="81" idx="0"/>
          </p:cNvCxnSpPr>
          <p:nvPr/>
        </p:nvCxnSpPr>
        <p:spPr>
          <a:xfrm flipH="1">
            <a:off x="6682734" y="2748770"/>
            <a:ext cx="5261" cy="468806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5" name="Straight Arrow Connector 94"/>
          <p:cNvCxnSpPr>
            <a:stCxn id="81" idx="2"/>
            <a:endCxn id="97" idx="0"/>
          </p:cNvCxnSpPr>
          <p:nvPr/>
        </p:nvCxnSpPr>
        <p:spPr>
          <a:xfrm flipH="1">
            <a:off x="5779060" y="3457888"/>
            <a:ext cx="903674" cy="853218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Straight Arrow Connector 95"/>
          <p:cNvCxnSpPr>
            <a:stCxn id="98" idx="2"/>
            <a:endCxn id="93" idx="2"/>
          </p:cNvCxnSpPr>
          <p:nvPr/>
        </p:nvCxnSpPr>
        <p:spPr>
          <a:xfrm>
            <a:off x="5778848" y="4899157"/>
            <a:ext cx="683541" cy="861863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7" name="Rectangle 96"/>
          <p:cNvSpPr/>
          <p:nvPr/>
        </p:nvSpPr>
        <p:spPr>
          <a:xfrm>
            <a:off x="5053026" y="4311106"/>
            <a:ext cx="1452067" cy="751898"/>
          </a:xfrm>
          <a:prstGeom prst="rect">
            <a:avLst/>
          </a:prstGeom>
          <a:solidFill>
            <a:schemeClr val="accent1">
              <a:lumMod val="40000"/>
              <a:lumOff val="60000"/>
              <a:alpha val="76000"/>
            </a:schemeClr>
          </a:solidFill>
          <a:ln w="12700">
            <a:solidFill>
              <a:schemeClr val="accent1">
                <a:shade val="95000"/>
                <a:satMod val="10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1000" dirty="0" smtClean="0">
                <a:solidFill>
                  <a:schemeClr val="tx1"/>
                </a:solidFill>
              </a:rPr>
              <a:t>SysA</a:t>
            </a:r>
          </a:p>
        </p:txBody>
      </p:sp>
      <p:sp>
        <p:nvSpPr>
          <p:cNvPr id="98" name="Rectangle 97"/>
          <p:cNvSpPr/>
          <p:nvPr/>
        </p:nvSpPr>
        <p:spPr>
          <a:xfrm>
            <a:off x="5112985" y="4621642"/>
            <a:ext cx="1331726" cy="277515"/>
          </a:xfrm>
          <a:prstGeom prst="rect">
            <a:avLst/>
          </a:prstGeom>
          <a:solidFill>
            <a:srgbClr val="FFC000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>
                <a:solidFill>
                  <a:schemeClr val="tx1"/>
                </a:solidFill>
              </a:rPr>
              <a:t>Dup  Check when Send Counter  ≥ 0</a:t>
            </a:r>
          </a:p>
        </p:txBody>
      </p:sp>
      <p:sp>
        <p:nvSpPr>
          <p:cNvPr id="99" name="Rectangle 98"/>
          <p:cNvSpPr/>
          <p:nvPr/>
        </p:nvSpPr>
        <p:spPr>
          <a:xfrm>
            <a:off x="6985019" y="4639316"/>
            <a:ext cx="1331726" cy="277515"/>
          </a:xfrm>
          <a:prstGeom prst="rect">
            <a:avLst/>
          </a:prstGeom>
          <a:solidFill>
            <a:srgbClr val="FFC000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>
                <a:solidFill>
                  <a:schemeClr val="tx1"/>
                </a:solidFill>
              </a:rPr>
              <a:t>Dup  Check when Send Counter  ≥ 0</a:t>
            </a:r>
          </a:p>
        </p:txBody>
      </p:sp>
      <p:cxnSp>
        <p:nvCxnSpPr>
          <p:cNvPr id="100" name="Straight Arrow Connector 99"/>
          <p:cNvCxnSpPr>
            <a:stCxn id="99" idx="2"/>
            <a:endCxn id="93" idx="4"/>
          </p:cNvCxnSpPr>
          <p:nvPr/>
        </p:nvCxnSpPr>
        <p:spPr>
          <a:xfrm flipH="1">
            <a:off x="6971901" y="4916831"/>
            <a:ext cx="678981" cy="844189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Straight Arrow Connector 100"/>
          <p:cNvCxnSpPr>
            <a:stCxn id="81" idx="2"/>
            <a:endCxn id="92" idx="0"/>
          </p:cNvCxnSpPr>
          <p:nvPr/>
        </p:nvCxnSpPr>
        <p:spPr>
          <a:xfrm>
            <a:off x="6682734" y="3457888"/>
            <a:ext cx="952019" cy="853218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138057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73152"/>
            <a:ext cx="8282763" cy="1005840"/>
          </a:xfrm>
        </p:spPr>
        <p:txBody>
          <a:bodyPr/>
          <a:lstStyle/>
          <a:p>
            <a:r>
              <a:rPr lang="en-US" sz="2400" dirty="0"/>
              <a:t>Improvement #2: Eliminate Duplicate Entries in Accum ODS from ESI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OMPANY CONFIDENTIAL  |  FOR INTERNAL USE ONLY  |  DO NOT COPY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2DCB2D-F3A1-47AC-A248-15826C4C808C}" type="slidenum">
              <a:rPr lang="en-US" smtClean="0"/>
              <a:pPr/>
              <a:t>13</a:t>
            </a:fld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647700" y="1302709"/>
            <a:ext cx="7943850" cy="490903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700" u="sng" dirty="0"/>
              <a:t>What is the business problem that we are trying to solve?</a:t>
            </a:r>
            <a:endParaRPr lang="en-US" sz="1700" dirty="0"/>
          </a:p>
          <a:p>
            <a:pPr marL="285750" indent="-285750" fontAlgn="ctr">
              <a:buFont typeface="Arial" panose="020B0604020202020204" pitchFamily="34" charset="0"/>
              <a:buChar char="•"/>
            </a:pPr>
            <a:r>
              <a:rPr lang="en-US" sz="1700" dirty="0" smtClean="0"/>
              <a:t>The Accum ODS currently takes in approx 1500 duplicate transactions/day from ESI</a:t>
            </a:r>
          </a:p>
          <a:p>
            <a:pPr marL="285750" indent="-285750" fontAlgn="ctr">
              <a:buFont typeface="Arial" panose="020B0604020202020204" pitchFamily="34" charset="0"/>
              <a:buChar char="•"/>
            </a:pPr>
            <a:r>
              <a:rPr lang="en-US" sz="1700" dirty="0" smtClean="0"/>
              <a:t>As a result, the possibility exists that we are overcharging or undercharging our members for their medicines</a:t>
            </a:r>
            <a:endParaRPr lang="en-US" sz="1700" dirty="0"/>
          </a:p>
          <a:p>
            <a:r>
              <a:rPr lang="en-US" sz="1700" dirty="0"/>
              <a:t> </a:t>
            </a:r>
          </a:p>
          <a:p>
            <a:pPr fontAlgn="ctr"/>
            <a:r>
              <a:rPr lang="en-US" sz="1700" u="sng" dirty="0" smtClean="0"/>
              <a:t>Work to be done</a:t>
            </a:r>
          </a:p>
          <a:p>
            <a:pPr marL="285750" indent="-285750" fontAlgn="ctr">
              <a:buFont typeface="Arial" panose="020B0604020202020204" pitchFamily="34" charset="0"/>
              <a:buChar char="•"/>
            </a:pPr>
            <a:r>
              <a:rPr lang="en-US" sz="1700" dirty="0" smtClean="0"/>
              <a:t>Multiple options exist to address this issue:</a:t>
            </a:r>
          </a:p>
          <a:p>
            <a:pPr marL="742950" lvl="1" indent="-285750" fontAlgn="ctr">
              <a:buFont typeface="Arial" panose="020B0604020202020204" pitchFamily="34" charset="0"/>
              <a:buChar char="•"/>
            </a:pPr>
            <a:r>
              <a:rPr lang="en-US" sz="1700" dirty="0" smtClean="0"/>
              <a:t>Check for dups 100% of the time (even when the Resend counter = 0)</a:t>
            </a:r>
          </a:p>
          <a:p>
            <a:pPr marL="742950" lvl="1" indent="-285750" fontAlgn="ctr">
              <a:buFont typeface="Arial" panose="020B0604020202020204" pitchFamily="34" charset="0"/>
              <a:buChar char="•"/>
            </a:pPr>
            <a:r>
              <a:rPr lang="en-US" sz="1700" dirty="0" smtClean="0"/>
              <a:t>Only take transactions whose Resend counter = 0 and assume that any missed transactions will be cleaned up via the Missing claims report</a:t>
            </a:r>
          </a:p>
          <a:p>
            <a:pPr marL="742950" lvl="1" indent="-285750" fontAlgn="ctr">
              <a:buFont typeface="Arial" panose="020B0604020202020204" pitchFamily="34" charset="0"/>
              <a:buChar char="•"/>
            </a:pPr>
            <a:r>
              <a:rPr lang="en-US" sz="1700" dirty="0" smtClean="0"/>
              <a:t>Other approaches</a:t>
            </a:r>
            <a:endParaRPr lang="en-US" sz="1700" dirty="0"/>
          </a:p>
          <a:p>
            <a:endParaRPr lang="en-US" dirty="0" smtClean="0"/>
          </a:p>
          <a:p>
            <a:r>
              <a:rPr lang="en-US" sz="1700" u="sng" dirty="0"/>
              <a:t>Next Step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700" dirty="0"/>
              <a:t>Conduct meetings with Accum ODS team, DBA team, Performance team to develop approach for eliminating duplicat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700" dirty="0"/>
              <a:t>Target a date for desig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700" dirty="0"/>
              <a:t>Target a date for implementation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779888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" name="Rectangle 112"/>
          <p:cNvSpPr/>
          <p:nvPr/>
        </p:nvSpPr>
        <p:spPr>
          <a:xfrm>
            <a:off x="7106734" y="4415789"/>
            <a:ext cx="1713296" cy="1673179"/>
          </a:xfrm>
          <a:prstGeom prst="rect">
            <a:avLst/>
          </a:prstGeom>
          <a:solidFill>
            <a:schemeClr val="accent5"/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 smtClean="0">
              <a:solidFill>
                <a:schemeClr val="tx2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000" dirty="0" smtClean="0"/>
              <a:t>Improvement </a:t>
            </a:r>
            <a:r>
              <a:rPr lang="en-US" sz="2000" dirty="0"/>
              <a:t>#3: </a:t>
            </a:r>
            <a:r>
              <a:rPr lang="en-US" sz="2000" dirty="0" smtClean="0"/>
              <a:t>Simplify the Accum ODS Integration Layer</a:t>
            </a:r>
            <a:endParaRPr lang="en-US" sz="200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OMPANY CONFIDENTIAL  |  FOR INTERNAL USE ONLY  |  DO NOT COPY</a:t>
            </a:r>
            <a:endParaRPr lang="en-US" dirty="0"/>
          </a:p>
        </p:txBody>
      </p:sp>
      <p:sp>
        <p:nvSpPr>
          <p:cNvPr id="54" name="Rectangle 53"/>
          <p:cNvSpPr/>
          <p:nvPr/>
        </p:nvSpPr>
        <p:spPr>
          <a:xfrm>
            <a:off x="4866315" y="4436181"/>
            <a:ext cx="1947481" cy="1661279"/>
          </a:xfrm>
          <a:prstGeom prst="rect">
            <a:avLst/>
          </a:prstGeom>
          <a:solidFill>
            <a:schemeClr val="accent5"/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 smtClean="0">
              <a:solidFill>
                <a:schemeClr val="tx2"/>
              </a:solidFill>
            </a:endParaRPr>
          </a:p>
        </p:txBody>
      </p:sp>
      <p:sp>
        <p:nvSpPr>
          <p:cNvPr id="56" name="Rectangle 55"/>
          <p:cNvSpPr/>
          <p:nvPr/>
        </p:nvSpPr>
        <p:spPr>
          <a:xfrm>
            <a:off x="4900712" y="2670888"/>
            <a:ext cx="3919318" cy="1384571"/>
          </a:xfrm>
          <a:prstGeom prst="rect">
            <a:avLst/>
          </a:prstGeom>
          <a:solidFill>
            <a:schemeClr val="accent5"/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dirty="0" err="1" smtClean="0">
              <a:solidFill>
                <a:schemeClr val="tx2"/>
              </a:solidFill>
            </a:endParaRPr>
          </a:p>
        </p:txBody>
      </p:sp>
      <p:sp>
        <p:nvSpPr>
          <p:cNvPr id="57" name="Rectangle 56"/>
          <p:cNvSpPr/>
          <p:nvPr/>
        </p:nvSpPr>
        <p:spPr>
          <a:xfrm>
            <a:off x="7949663" y="2155870"/>
            <a:ext cx="715992" cy="353683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>
                <a:solidFill>
                  <a:schemeClr val="tx1"/>
                </a:solidFill>
              </a:rPr>
              <a:t>Consumer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8" name="Rectangle 57"/>
          <p:cNvSpPr/>
          <p:nvPr/>
        </p:nvSpPr>
        <p:spPr>
          <a:xfrm>
            <a:off x="7915158" y="2793236"/>
            <a:ext cx="785171" cy="353683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>
                <a:solidFill>
                  <a:schemeClr val="tx1"/>
                </a:solidFill>
              </a:rPr>
              <a:t>DataPower</a:t>
            </a:r>
          </a:p>
          <a:p>
            <a:pPr algn="ctr"/>
            <a:r>
              <a:rPr lang="en-US" sz="1000" dirty="0" smtClean="0">
                <a:solidFill>
                  <a:schemeClr val="tx1"/>
                </a:solidFill>
              </a:rPr>
              <a:t>Gateway</a:t>
            </a:r>
          </a:p>
        </p:txBody>
      </p:sp>
      <p:sp>
        <p:nvSpPr>
          <p:cNvPr id="61" name="Rectangle 60"/>
          <p:cNvSpPr/>
          <p:nvPr/>
        </p:nvSpPr>
        <p:spPr>
          <a:xfrm>
            <a:off x="6384476" y="3358211"/>
            <a:ext cx="817247" cy="353683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>
                <a:solidFill>
                  <a:schemeClr val="tx1"/>
                </a:solidFill>
              </a:rPr>
              <a:t>BPM Servers</a:t>
            </a:r>
          </a:p>
        </p:txBody>
      </p:sp>
      <p:sp>
        <p:nvSpPr>
          <p:cNvPr id="66" name="Rectangle 65"/>
          <p:cNvSpPr/>
          <p:nvPr/>
        </p:nvSpPr>
        <p:spPr>
          <a:xfrm>
            <a:off x="4991472" y="2794936"/>
            <a:ext cx="833719" cy="353683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>
                <a:solidFill>
                  <a:schemeClr val="tx1"/>
                </a:solidFill>
              </a:rPr>
              <a:t>DataPower</a:t>
            </a:r>
          </a:p>
          <a:p>
            <a:pPr algn="ctr"/>
            <a:r>
              <a:rPr lang="en-US" sz="1000" dirty="0" smtClean="0">
                <a:solidFill>
                  <a:schemeClr val="tx1"/>
                </a:solidFill>
              </a:rPr>
              <a:t>DAL</a:t>
            </a:r>
          </a:p>
        </p:txBody>
      </p:sp>
      <p:cxnSp>
        <p:nvCxnSpPr>
          <p:cNvPr id="71" name="Straight Arrow Connector 70"/>
          <p:cNvCxnSpPr>
            <a:stCxn id="57" idx="2"/>
            <a:endCxn id="58" idx="0"/>
          </p:cNvCxnSpPr>
          <p:nvPr/>
        </p:nvCxnSpPr>
        <p:spPr>
          <a:xfrm>
            <a:off x="8307659" y="2509553"/>
            <a:ext cx="85" cy="283683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TextBox 82"/>
          <p:cNvSpPr txBox="1"/>
          <p:nvPr/>
        </p:nvSpPr>
        <p:spPr>
          <a:xfrm>
            <a:off x="7024921" y="3752365"/>
            <a:ext cx="178917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/>
              <a:t>ODS Integration Layer</a:t>
            </a:r>
            <a:endParaRPr lang="en-US" sz="1400" dirty="0"/>
          </a:p>
        </p:txBody>
      </p:sp>
      <p:sp>
        <p:nvSpPr>
          <p:cNvPr id="84" name="Rectangle 83"/>
          <p:cNvSpPr/>
          <p:nvPr/>
        </p:nvSpPr>
        <p:spPr>
          <a:xfrm>
            <a:off x="5013273" y="4936377"/>
            <a:ext cx="808356" cy="353683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>
                <a:solidFill>
                  <a:schemeClr val="tx1"/>
                </a:solidFill>
              </a:rPr>
              <a:t>IMS</a:t>
            </a:r>
          </a:p>
        </p:txBody>
      </p:sp>
      <p:sp>
        <p:nvSpPr>
          <p:cNvPr id="92" name="Rectangle 91"/>
          <p:cNvSpPr/>
          <p:nvPr/>
        </p:nvSpPr>
        <p:spPr>
          <a:xfrm>
            <a:off x="4996033" y="4573109"/>
            <a:ext cx="833718" cy="353683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>
                <a:solidFill>
                  <a:schemeClr val="tx1"/>
                </a:solidFill>
              </a:rPr>
              <a:t>IMS Connect</a:t>
            </a:r>
          </a:p>
        </p:txBody>
      </p:sp>
      <p:cxnSp>
        <p:nvCxnSpPr>
          <p:cNvPr id="7" name="Straight Arrow Connector 6"/>
          <p:cNvCxnSpPr>
            <a:stCxn id="58" idx="1"/>
            <a:endCxn id="66" idx="3"/>
          </p:cNvCxnSpPr>
          <p:nvPr/>
        </p:nvCxnSpPr>
        <p:spPr>
          <a:xfrm flipH="1">
            <a:off x="5825191" y="2970078"/>
            <a:ext cx="2089967" cy="17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/>
          <p:cNvCxnSpPr>
            <a:stCxn id="66" idx="2"/>
            <a:endCxn id="92" idx="0"/>
          </p:cNvCxnSpPr>
          <p:nvPr/>
        </p:nvCxnSpPr>
        <p:spPr>
          <a:xfrm>
            <a:off x="5408332" y="3148619"/>
            <a:ext cx="4560" cy="142449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Box 27"/>
          <p:cNvSpPr txBox="1"/>
          <p:nvPr/>
        </p:nvSpPr>
        <p:spPr>
          <a:xfrm>
            <a:off x="6274190" y="2786208"/>
            <a:ext cx="137859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 smtClean="0"/>
              <a:t>Non-HRA transactions</a:t>
            </a:r>
            <a:endParaRPr lang="en-US" sz="1000" dirty="0"/>
          </a:p>
        </p:txBody>
      </p:sp>
      <p:sp>
        <p:nvSpPr>
          <p:cNvPr id="109" name="Rectangle 108"/>
          <p:cNvSpPr/>
          <p:nvPr/>
        </p:nvSpPr>
        <p:spPr>
          <a:xfrm>
            <a:off x="7233458" y="4929006"/>
            <a:ext cx="833718" cy="353683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>
                <a:solidFill>
                  <a:schemeClr val="tx1"/>
                </a:solidFill>
              </a:rPr>
              <a:t>LITES</a:t>
            </a:r>
          </a:p>
        </p:txBody>
      </p:sp>
      <p:sp>
        <p:nvSpPr>
          <p:cNvPr id="126" name="TextBox 125"/>
          <p:cNvSpPr txBox="1"/>
          <p:nvPr/>
        </p:nvSpPr>
        <p:spPr>
          <a:xfrm>
            <a:off x="7222654" y="3349478"/>
            <a:ext cx="107603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 smtClean="0"/>
              <a:t>HRA transactions</a:t>
            </a:r>
            <a:endParaRPr lang="en-US" sz="1000" dirty="0"/>
          </a:p>
        </p:txBody>
      </p:sp>
      <p:cxnSp>
        <p:nvCxnSpPr>
          <p:cNvPr id="128" name="Elbow Connector 127"/>
          <p:cNvCxnSpPr>
            <a:stCxn id="58" idx="2"/>
            <a:endCxn id="61" idx="3"/>
          </p:cNvCxnSpPr>
          <p:nvPr/>
        </p:nvCxnSpPr>
        <p:spPr>
          <a:xfrm rot="5400000">
            <a:off x="7560667" y="2787976"/>
            <a:ext cx="388134" cy="1106021"/>
          </a:xfrm>
          <a:prstGeom prst="bentConnector2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1" name="Elbow Connector 130"/>
          <p:cNvCxnSpPr>
            <a:stCxn id="61" idx="2"/>
            <a:endCxn id="109" idx="0"/>
          </p:cNvCxnSpPr>
          <p:nvPr/>
        </p:nvCxnSpPr>
        <p:spPr>
          <a:xfrm rot="16200000" flipH="1">
            <a:off x="6613152" y="3891841"/>
            <a:ext cx="1217112" cy="857217"/>
          </a:xfrm>
          <a:prstGeom prst="bentConnector3">
            <a:avLst>
              <a:gd name="adj1" fmla="val 38643"/>
            </a:avLst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4" name="Elbow Connector 133"/>
          <p:cNvCxnSpPr>
            <a:stCxn id="61" idx="1"/>
          </p:cNvCxnSpPr>
          <p:nvPr/>
        </p:nvCxnSpPr>
        <p:spPr>
          <a:xfrm rot="10800000">
            <a:off x="5812510" y="3099231"/>
            <a:ext cx="571966" cy="435822"/>
          </a:xfrm>
          <a:prstGeom prst="bentConnector3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9" name="TextBox 138"/>
          <p:cNvSpPr txBox="1"/>
          <p:nvPr/>
        </p:nvSpPr>
        <p:spPr>
          <a:xfrm>
            <a:off x="8067803" y="5850271"/>
            <a:ext cx="86472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 smtClean="0"/>
              <a:t>St. Louis</a:t>
            </a:r>
          </a:p>
        </p:txBody>
      </p:sp>
      <p:sp>
        <p:nvSpPr>
          <p:cNvPr id="140" name="Rectangle 139"/>
          <p:cNvSpPr/>
          <p:nvPr/>
        </p:nvSpPr>
        <p:spPr>
          <a:xfrm>
            <a:off x="2617623" y="4344199"/>
            <a:ext cx="1685068" cy="1728678"/>
          </a:xfrm>
          <a:prstGeom prst="rect">
            <a:avLst/>
          </a:prstGeom>
          <a:solidFill>
            <a:schemeClr val="accent5"/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 smtClean="0">
              <a:solidFill>
                <a:schemeClr val="tx2"/>
              </a:solidFill>
            </a:endParaRPr>
          </a:p>
        </p:txBody>
      </p:sp>
      <p:sp>
        <p:nvSpPr>
          <p:cNvPr id="141" name="Rectangle 140"/>
          <p:cNvSpPr/>
          <p:nvPr/>
        </p:nvSpPr>
        <p:spPr>
          <a:xfrm>
            <a:off x="393426" y="4344198"/>
            <a:ext cx="2019960" cy="1716779"/>
          </a:xfrm>
          <a:prstGeom prst="rect">
            <a:avLst/>
          </a:prstGeom>
          <a:solidFill>
            <a:schemeClr val="accent5"/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 smtClean="0">
              <a:solidFill>
                <a:schemeClr val="tx2"/>
              </a:solidFill>
            </a:endParaRPr>
          </a:p>
        </p:txBody>
      </p:sp>
      <p:sp>
        <p:nvSpPr>
          <p:cNvPr id="142" name="Rectangle 141"/>
          <p:cNvSpPr/>
          <p:nvPr/>
        </p:nvSpPr>
        <p:spPr>
          <a:xfrm>
            <a:off x="393426" y="2658276"/>
            <a:ext cx="3909265" cy="1384571"/>
          </a:xfrm>
          <a:prstGeom prst="rect">
            <a:avLst/>
          </a:prstGeom>
          <a:solidFill>
            <a:schemeClr val="accent5"/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dirty="0" err="1" smtClean="0">
              <a:solidFill>
                <a:schemeClr val="tx2"/>
              </a:solidFill>
            </a:endParaRPr>
          </a:p>
        </p:txBody>
      </p:sp>
      <p:sp>
        <p:nvSpPr>
          <p:cNvPr id="143" name="Rectangle 142"/>
          <p:cNvSpPr/>
          <p:nvPr/>
        </p:nvSpPr>
        <p:spPr>
          <a:xfrm>
            <a:off x="3442378" y="2143258"/>
            <a:ext cx="715992" cy="353683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>
                <a:solidFill>
                  <a:schemeClr val="tx1"/>
                </a:solidFill>
              </a:rPr>
              <a:t>Consumer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4" name="Rectangle 143"/>
          <p:cNvSpPr/>
          <p:nvPr/>
        </p:nvSpPr>
        <p:spPr>
          <a:xfrm>
            <a:off x="3407873" y="2780624"/>
            <a:ext cx="785171" cy="353683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>
                <a:solidFill>
                  <a:schemeClr val="tx1"/>
                </a:solidFill>
              </a:rPr>
              <a:t>DataPower</a:t>
            </a:r>
          </a:p>
          <a:p>
            <a:pPr algn="ctr"/>
            <a:r>
              <a:rPr lang="en-US" sz="1000" dirty="0" smtClean="0">
                <a:solidFill>
                  <a:schemeClr val="tx1"/>
                </a:solidFill>
              </a:rPr>
              <a:t>Gateway</a:t>
            </a:r>
          </a:p>
        </p:txBody>
      </p:sp>
      <p:sp>
        <p:nvSpPr>
          <p:cNvPr id="145" name="Rectangle 144"/>
          <p:cNvSpPr/>
          <p:nvPr/>
        </p:nvSpPr>
        <p:spPr>
          <a:xfrm>
            <a:off x="2012586" y="2780623"/>
            <a:ext cx="817247" cy="353683"/>
          </a:xfrm>
          <a:prstGeom prst="rect">
            <a:avLst/>
          </a:prstGeom>
          <a:solidFill>
            <a:srgbClr val="0099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>
                <a:solidFill>
                  <a:schemeClr val="tx1"/>
                </a:solidFill>
              </a:rPr>
              <a:t>BPM Servers</a:t>
            </a:r>
          </a:p>
        </p:txBody>
      </p:sp>
      <p:sp>
        <p:nvSpPr>
          <p:cNvPr id="146" name="Rectangle 145"/>
          <p:cNvSpPr/>
          <p:nvPr/>
        </p:nvSpPr>
        <p:spPr>
          <a:xfrm>
            <a:off x="567312" y="2782324"/>
            <a:ext cx="833719" cy="353683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>
                <a:solidFill>
                  <a:schemeClr val="tx1"/>
                </a:solidFill>
              </a:rPr>
              <a:t>DataPower</a:t>
            </a:r>
          </a:p>
          <a:p>
            <a:pPr algn="ctr"/>
            <a:r>
              <a:rPr lang="en-US" sz="1000" dirty="0" smtClean="0">
                <a:solidFill>
                  <a:schemeClr val="tx1"/>
                </a:solidFill>
              </a:rPr>
              <a:t>DAL</a:t>
            </a:r>
          </a:p>
        </p:txBody>
      </p:sp>
      <p:cxnSp>
        <p:nvCxnSpPr>
          <p:cNvPr id="147" name="Straight Arrow Connector 146"/>
          <p:cNvCxnSpPr>
            <a:stCxn id="143" idx="2"/>
            <a:endCxn id="144" idx="0"/>
          </p:cNvCxnSpPr>
          <p:nvPr/>
        </p:nvCxnSpPr>
        <p:spPr>
          <a:xfrm>
            <a:off x="3800374" y="2496941"/>
            <a:ext cx="85" cy="283683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8" name="TextBox 147"/>
          <p:cNvSpPr txBox="1"/>
          <p:nvPr/>
        </p:nvSpPr>
        <p:spPr>
          <a:xfrm>
            <a:off x="2505761" y="3739753"/>
            <a:ext cx="178917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/>
              <a:t>ODS Integration Layer</a:t>
            </a:r>
            <a:endParaRPr lang="en-US" sz="1400" dirty="0"/>
          </a:p>
        </p:txBody>
      </p:sp>
      <p:sp>
        <p:nvSpPr>
          <p:cNvPr id="149" name="Rectangle 148"/>
          <p:cNvSpPr/>
          <p:nvPr/>
        </p:nvSpPr>
        <p:spPr>
          <a:xfrm>
            <a:off x="565363" y="4993731"/>
            <a:ext cx="808356" cy="353683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>
                <a:solidFill>
                  <a:schemeClr val="tx1"/>
                </a:solidFill>
              </a:rPr>
              <a:t>IMS</a:t>
            </a:r>
          </a:p>
        </p:txBody>
      </p:sp>
      <p:sp>
        <p:nvSpPr>
          <p:cNvPr id="150" name="TextBox 149"/>
          <p:cNvSpPr txBox="1"/>
          <p:nvPr/>
        </p:nvSpPr>
        <p:spPr>
          <a:xfrm>
            <a:off x="1460181" y="5788625"/>
            <a:ext cx="95320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 smtClean="0"/>
              <a:t>CA Mainframe</a:t>
            </a:r>
            <a:endParaRPr lang="en-US" sz="1000" dirty="0"/>
          </a:p>
        </p:txBody>
      </p:sp>
      <p:sp>
        <p:nvSpPr>
          <p:cNvPr id="151" name="Can 150"/>
          <p:cNvSpPr/>
          <p:nvPr/>
        </p:nvSpPr>
        <p:spPr>
          <a:xfrm>
            <a:off x="635975" y="5426583"/>
            <a:ext cx="667131" cy="493116"/>
          </a:xfrm>
          <a:prstGeom prst="can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>
                <a:solidFill>
                  <a:schemeClr val="tx1"/>
                </a:solidFill>
              </a:rPr>
              <a:t>ODS</a:t>
            </a:r>
          </a:p>
          <a:p>
            <a:pPr algn="ctr"/>
            <a:r>
              <a:rPr lang="en-US" sz="1000" dirty="0" smtClean="0">
                <a:solidFill>
                  <a:schemeClr val="tx1"/>
                </a:solidFill>
              </a:rPr>
              <a:t>Accums</a:t>
            </a:r>
          </a:p>
        </p:txBody>
      </p:sp>
      <p:sp>
        <p:nvSpPr>
          <p:cNvPr id="158" name="Rectangle 157"/>
          <p:cNvSpPr/>
          <p:nvPr/>
        </p:nvSpPr>
        <p:spPr>
          <a:xfrm>
            <a:off x="2823683" y="4929005"/>
            <a:ext cx="833718" cy="353683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>
                <a:solidFill>
                  <a:schemeClr val="tx1"/>
                </a:solidFill>
              </a:rPr>
              <a:t>LITES</a:t>
            </a:r>
          </a:p>
        </p:txBody>
      </p:sp>
      <p:cxnSp>
        <p:nvCxnSpPr>
          <p:cNvPr id="161" name="Elbow Connector 160"/>
          <p:cNvCxnSpPr>
            <a:stCxn id="145" idx="2"/>
            <a:endCxn id="158" idx="0"/>
          </p:cNvCxnSpPr>
          <p:nvPr/>
        </p:nvCxnSpPr>
        <p:spPr>
          <a:xfrm rot="16200000" flipH="1">
            <a:off x="1933527" y="3621989"/>
            <a:ext cx="1794699" cy="819332"/>
          </a:xfrm>
          <a:prstGeom prst="bentConnector3">
            <a:avLst>
              <a:gd name="adj1" fmla="val 56617"/>
            </a:avLst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3" name="TextBox 162"/>
          <p:cNvSpPr txBox="1"/>
          <p:nvPr/>
        </p:nvSpPr>
        <p:spPr>
          <a:xfrm>
            <a:off x="3584268" y="5813909"/>
            <a:ext cx="86472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 smtClean="0"/>
              <a:t>St. Louis</a:t>
            </a:r>
          </a:p>
        </p:txBody>
      </p:sp>
      <p:sp>
        <p:nvSpPr>
          <p:cNvPr id="164" name="Rectangle 163"/>
          <p:cNvSpPr/>
          <p:nvPr/>
        </p:nvSpPr>
        <p:spPr>
          <a:xfrm>
            <a:off x="568057" y="3476346"/>
            <a:ext cx="833718" cy="39254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>
                <a:solidFill>
                  <a:schemeClr val="tx1"/>
                </a:solidFill>
              </a:rPr>
              <a:t>Midrange</a:t>
            </a:r>
          </a:p>
          <a:p>
            <a:pPr algn="ctr"/>
            <a:r>
              <a:rPr lang="en-US" sz="1000" dirty="0" smtClean="0">
                <a:solidFill>
                  <a:schemeClr val="tx1"/>
                </a:solidFill>
              </a:rPr>
              <a:t>MQ</a:t>
            </a:r>
          </a:p>
        </p:txBody>
      </p:sp>
      <p:sp>
        <p:nvSpPr>
          <p:cNvPr id="165" name="Rectangle 164"/>
          <p:cNvSpPr/>
          <p:nvPr/>
        </p:nvSpPr>
        <p:spPr>
          <a:xfrm>
            <a:off x="568057" y="4446805"/>
            <a:ext cx="833718" cy="39254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>
                <a:solidFill>
                  <a:schemeClr val="tx1"/>
                </a:solidFill>
              </a:rPr>
              <a:t>Mainframe</a:t>
            </a:r>
          </a:p>
          <a:p>
            <a:pPr algn="ctr"/>
            <a:r>
              <a:rPr lang="en-US" sz="1000" dirty="0" smtClean="0">
                <a:solidFill>
                  <a:schemeClr val="tx1"/>
                </a:solidFill>
              </a:rPr>
              <a:t>MQ</a:t>
            </a:r>
          </a:p>
        </p:txBody>
      </p:sp>
      <p:cxnSp>
        <p:nvCxnSpPr>
          <p:cNvPr id="169" name="Straight Arrow Connector 168"/>
          <p:cNvCxnSpPr>
            <a:stCxn id="144" idx="1"/>
            <a:endCxn id="145" idx="3"/>
          </p:cNvCxnSpPr>
          <p:nvPr/>
        </p:nvCxnSpPr>
        <p:spPr>
          <a:xfrm flipH="1" flipV="1">
            <a:off x="2829833" y="2957465"/>
            <a:ext cx="578040" cy="1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1" name="Straight Arrow Connector 170"/>
          <p:cNvCxnSpPr>
            <a:stCxn id="145" idx="1"/>
            <a:endCxn id="146" idx="3"/>
          </p:cNvCxnSpPr>
          <p:nvPr/>
        </p:nvCxnSpPr>
        <p:spPr>
          <a:xfrm flipH="1">
            <a:off x="1401031" y="2957465"/>
            <a:ext cx="611555" cy="1701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5" name="Straight Arrow Connector 174"/>
          <p:cNvCxnSpPr>
            <a:stCxn id="146" idx="2"/>
            <a:endCxn id="164" idx="0"/>
          </p:cNvCxnSpPr>
          <p:nvPr/>
        </p:nvCxnSpPr>
        <p:spPr>
          <a:xfrm>
            <a:off x="984172" y="3136007"/>
            <a:ext cx="744" cy="340339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7" name="Straight Arrow Connector 176"/>
          <p:cNvCxnSpPr>
            <a:stCxn id="164" idx="2"/>
            <a:endCxn id="165" idx="0"/>
          </p:cNvCxnSpPr>
          <p:nvPr/>
        </p:nvCxnSpPr>
        <p:spPr>
          <a:xfrm>
            <a:off x="984916" y="3868886"/>
            <a:ext cx="0" cy="577919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9" name="Straight Arrow Connector 178"/>
          <p:cNvCxnSpPr>
            <a:stCxn id="165" idx="2"/>
            <a:endCxn id="149" idx="0"/>
          </p:cNvCxnSpPr>
          <p:nvPr/>
        </p:nvCxnSpPr>
        <p:spPr>
          <a:xfrm flipH="1">
            <a:off x="969541" y="4839345"/>
            <a:ext cx="15375" cy="154386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1" name="Straight Arrow Connector 180"/>
          <p:cNvCxnSpPr>
            <a:stCxn id="149" idx="2"/>
          </p:cNvCxnSpPr>
          <p:nvPr/>
        </p:nvCxnSpPr>
        <p:spPr>
          <a:xfrm>
            <a:off x="969541" y="5347414"/>
            <a:ext cx="7687" cy="79169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2" name="Can 181"/>
          <p:cNvSpPr/>
          <p:nvPr/>
        </p:nvSpPr>
        <p:spPr>
          <a:xfrm>
            <a:off x="5071108" y="5521583"/>
            <a:ext cx="667131" cy="493116"/>
          </a:xfrm>
          <a:prstGeom prst="can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>
                <a:solidFill>
                  <a:schemeClr val="tx1"/>
                </a:solidFill>
              </a:rPr>
              <a:t>ODS</a:t>
            </a:r>
          </a:p>
          <a:p>
            <a:pPr algn="ctr"/>
            <a:r>
              <a:rPr lang="en-US" sz="1000" dirty="0" smtClean="0">
                <a:solidFill>
                  <a:schemeClr val="tx1"/>
                </a:solidFill>
              </a:rPr>
              <a:t>Accums</a:t>
            </a:r>
          </a:p>
        </p:txBody>
      </p:sp>
      <p:sp>
        <p:nvSpPr>
          <p:cNvPr id="183" name="Can 182"/>
          <p:cNvSpPr/>
          <p:nvPr/>
        </p:nvSpPr>
        <p:spPr>
          <a:xfrm>
            <a:off x="2910832" y="5434457"/>
            <a:ext cx="667131" cy="493116"/>
          </a:xfrm>
          <a:prstGeom prst="can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>
                <a:solidFill>
                  <a:schemeClr val="tx1"/>
                </a:solidFill>
              </a:rPr>
              <a:t>HRA</a:t>
            </a:r>
          </a:p>
          <a:p>
            <a:pPr algn="ctr"/>
            <a:r>
              <a:rPr lang="en-US" sz="1000" dirty="0" smtClean="0">
                <a:solidFill>
                  <a:schemeClr val="tx1"/>
                </a:solidFill>
              </a:rPr>
              <a:t>Balance</a:t>
            </a:r>
          </a:p>
        </p:txBody>
      </p:sp>
      <p:cxnSp>
        <p:nvCxnSpPr>
          <p:cNvPr id="185" name="Straight Arrow Connector 184"/>
          <p:cNvCxnSpPr>
            <a:endCxn id="182" idx="1"/>
          </p:cNvCxnSpPr>
          <p:nvPr/>
        </p:nvCxnSpPr>
        <p:spPr>
          <a:xfrm>
            <a:off x="5404673" y="5297587"/>
            <a:ext cx="1" cy="223996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6" name="Can 185"/>
          <p:cNvSpPr/>
          <p:nvPr/>
        </p:nvSpPr>
        <p:spPr>
          <a:xfrm>
            <a:off x="7316751" y="5513095"/>
            <a:ext cx="667131" cy="493116"/>
          </a:xfrm>
          <a:prstGeom prst="can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>
                <a:solidFill>
                  <a:schemeClr val="tx1"/>
                </a:solidFill>
              </a:rPr>
              <a:t>HRA</a:t>
            </a:r>
          </a:p>
          <a:p>
            <a:pPr algn="ctr"/>
            <a:r>
              <a:rPr lang="en-US" sz="1000" dirty="0" smtClean="0">
                <a:solidFill>
                  <a:schemeClr val="tx1"/>
                </a:solidFill>
              </a:rPr>
              <a:t>Balance</a:t>
            </a:r>
          </a:p>
        </p:txBody>
      </p:sp>
      <p:sp>
        <p:nvSpPr>
          <p:cNvPr id="189" name="TextBox 188"/>
          <p:cNvSpPr txBox="1"/>
          <p:nvPr/>
        </p:nvSpPr>
        <p:spPr>
          <a:xfrm>
            <a:off x="5860591" y="5807490"/>
            <a:ext cx="95320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 smtClean="0"/>
              <a:t>CA Mainframe</a:t>
            </a:r>
            <a:endParaRPr lang="en-US" sz="1000" dirty="0"/>
          </a:p>
        </p:txBody>
      </p:sp>
      <p:sp>
        <p:nvSpPr>
          <p:cNvPr id="191" name="TextBox 190"/>
          <p:cNvSpPr txBox="1"/>
          <p:nvPr/>
        </p:nvSpPr>
        <p:spPr>
          <a:xfrm>
            <a:off x="551783" y="1313760"/>
            <a:ext cx="3750908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 smtClean="0"/>
              <a:t>Curr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/>
              <a:t>All transactions go through BPM Serve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/>
              <a:t>All transactions go through two MQ stages</a:t>
            </a:r>
          </a:p>
        </p:txBody>
      </p:sp>
      <p:sp>
        <p:nvSpPr>
          <p:cNvPr id="192" name="TextBox 191"/>
          <p:cNvSpPr txBox="1"/>
          <p:nvPr/>
        </p:nvSpPr>
        <p:spPr>
          <a:xfrm>
            <a:off x="4900710" y="1313759"/>
            <a:ext cx="3919319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 smtClean="0"/>
              <a:t>Futur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/>
              <a:t>Only HRA transactions go through BPM serv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/>
              <a:t>IMS Connect replaces two MQ stages</a:t>
            </a:r>
            <a:endParaRPr lang="en-US" sz="1400" dirty="0"/>
          </a:p>
        </p:txBody>
      </p:sp>
      <p:cxnSp>
        <p:nvCxnSpPr>
          <p:cNvPr id="196" name="Straight Arrow Connector 195"/>
          <p:cNvCxnSpPr>
            <a:stCxn id="158" idx="2"/>
            <a:endCxn id="183" idx="1"/>
          </p:cNvCxnSpPr>
          <p:nvPr/>
        </p:nvCxnSpPr>
        <p:spPr>
          <a:xfrm>
            <a:off x="3240542" y="5282688"/>
            <a:ext cx="3856" cy="151769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8" name="Straight Arrow Connector 197"/>
          <p:cNvCxnSpPr>
            <a:stCxn id="109" idx="2"/>
            <a:endCxn id="186" idx="1"/>
          </p:cNvCxnSpPr>
          <p:nvPr/>
        </p:nvCxnSpPr>
        <p:spPr>
          <a:xfrm>
            <a:off x="7650317" y="5282689"/>
            <a:ext cx="0" cy="230406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1" name="TextBox 200"/>
          <p:cNvSpPr txBox="1"/>
          <p:nvPr/>
        </p:nvSpPr>
        <p:spPr>
          <a:xfrm>
            <a:off x="7743995" y="4519964"/>
            <a:ext cx="107603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 smtClean="0"/>
              <a:t>Only HRA transactions</a:t>
            </a:r>
            <a:endParaRPr lang="en-US" sz="1000" dirty="0"/>
          </a:p>
        </p:txBody>
      </p:sp>
      <p:sp>
        <p:nvSpPr>
          <p:cNvPr id="202" name="TextBox 201"/>
          <p:cNvSpPr txBox="1"/>
          <p:nvPr/>
        </p:nvSpPr>
        <p:spPr>
          <a:xfrm>
            <a:off x="5365106" y="4042847"/>
            <a:ext cx="107603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 smtClean="0"/>
              <a:t>HRA &amp; non HRA transactions</a:t>
            </a:r>
            <a:endParaRPr lang="en-US" sz="1000" dirty="0"/>
          </a:p>
        </p:txBody>
      </p:sp>
      <p:cxnSp>
        <p:nvCxnSpPr>
          <p:cNvPr id="59" name="Straight Connector 58"/>
          <p:cNvCxnSpPr/>
          <p:nvPr/>
        </p:nvCxnSpPr>
        <p:spPr>
          <a:xfrm>
            <a:off x="4608872" y="1400175"/>
            <a:ext cx="0" cy="468530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526845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000" dirty="0"/>
              <a:t>Improvement #3: Simplify the Accum ODS </a:t>
            </a:r>
            <a:r>
              <a:rPr lang="en-US" sz="2000" dirty="0" smtClean="0"/>
              <a:t>Integration Layer</a:t>
            </a:r>
            <a:endParaRPr lang="en-US" sz="2000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OMPANY CONFIDENTIAL  |  FOR INTERNAL USE ONLY  |  DO NOT COPY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2DCB2D-F3A1-47AC-A248-15826C4C808C}" type="slidenum">
              <a:rPr lang="en-US" smtClean="0"/>
              <a:pPr/>
              <a:t>15</a:t>
            </a:fld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647700" y="1302709"/>
            <a:ext cx="7943850" cy="48013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700" u="sng" dirty="0"/>
              <a:t>What is the business problem that we are trying to solve?</a:t>
            </a:r>
            <a:endParaRPr lang="en-US" sz="1700" dirty="0"/>
          </a:p>
          <a:p>
            <a:pPr marL="285750" indent="-285750" fontAlgn="ctr">
              <a:buFont typeface="Arial" panose="020B0604020202020204" pitchFamily="34" charset="0"/>
              <a:buChar char="•"/>
            </a:pPr>
            <a:r>
              <a:rPr lang="en-US" sz="1700" dirty="0" smtClean="0"/>
              <a:t>There are multiple stages in the Accum ODS transactions</a:t>
            </a:r>
          </a:p>
          <a:p>
            <a:pPr marL="742950" lvl="1" indent="-285750" fontAlgn="ctr">
              <a:buFont typeface="Arial" panose="020B0604020202020204" pitchFamily="34" charset="0"/>
              <a:buChar char="•"/>
            </a:pPr>
            <a:r>
              <a:rPr lang="en-US" sz="1700" dirty="0" smtClean="0"/>
              <a:t>When there are problems with the Accum ODS is it difficult to determine where the problem lies</a:t>
            </a:r>
          </a:p>
          <a:p>
            <a:pPr marL="742950" lvl="1" indent="-285750" fontAlgn="ctr">
              <a:buFont typeface="Arial" panose="020B0604020202020204" pitchFamily="34" charset="0"/>
              <a:buChar char="•"/>
            </a:pPr>
            <a:r>
              <a:rPr lang="en-US" sz="1700" dirty="0" smtClean="0"/>
              <a:t>Unnecessary stages in the transaction degrade performance</a:t>
            </a:r>
          </a:p>
          <a:p>
            <a:pPr marL="742950" lvl="1" indent="-285750" fontAlgn="ctr">
              <a:buFont typeface="Arial" panose="020B0604020202020204" pitchFamily="34" charset="0"/>
              <a:buChar char="•"/>
            </a:pPr>
            <a:endParaRPr lang="en-US" sz="1700" dirty="0"/>
          </a:p>
          <a:p>
            <a:pPr fontAlgn="ctr"/>
            <a:r>
              <a:rPr lang="en-US" sz="1700" u="sng" dirty="0" smtClean="0"/>
              <a:t>Work to be done</a:t>
            </a:r>
          </a:p>
          <a:p>
            <a:pPr marL="285750" indent="-285750" fontAlgn="ctr">
              <a:buFont typeface="Arial" panose="020B0604020202020204" pitchFamily="34" charset="0"/>
              <a:buChar char="•"/>
            </a:pPr>
            <a:r>
              <a:rPr lang="en-US" sz="1700" dirty="0" smtClean="0"/>
              <a:t>Simplify the Accum ODS by bypassing BPM for non-HRA transactions (99% of transaction volume)</a:t>
            </a:r>
          </a:p>
          <a:p>
            <a:pPr marL="285750" indent="-285750" fontAlgn="ctr">
              <a:buFont typeface="Arial" panose="020B0604020202020204" pitchFamily="34" charset="0"/>
              <a:buChar char="•"/>
            </a:pPr>
            <a:r>
              <a:rPr lang="en-US" sz="1700" dirty="0" smtClean="0"/>
              <a:t>Substitute IMS Connect for IBM MQ to eliminate two stages and provide better visibility to Accum ODS transactions</a:t>
            </a:r>
          </a:p>
          <a:p>
            <a:pPr marL="285750" indent="-285750" fontAlgn="ctr">
              <a:buFont typeface="Arial" panose="020B0604020202020204" pitchFamily="34" charset="0"/>
              <a:buChar char="•"/>
            </a:pPr>
            <a:endParaRPr lang="en-US" sz="1700" dirty="0"/>
          </a:p>
          <a:p>
            <a:pPr fontAlgn="ctr"/>
            <a:r>
              <a:rPr lang="en-US" sz="1700" u="sng" dirty="0" smtClean="0"/>
              <a:t>Executive Support Needed</a:t>
            </a:r>
          </a:p>
          <a:p>
            <a:pPr marL="285750" indent="-285750" fontAlgn="ctr">
              <a:buFont typeface="Arial" panose="020B0604020202020204" pitchFamily="34" charset="0"/>
              <a:buChar char="•"/>
            </a:pPr>
            <a:r>
              <a:rPr lang="en-US" sz="1700" dirty="0" smtClean="0"/>
              <a:t>Persuading the SOA </a:t>
            </a:r>
            <a:r>
              <a:rPr lang="en-US" sz="1700" dirty="0" smtClean="0"/>
              <a:t>Team </a:t>
            </a:r>
            <a:r>
              <a:rPr lang="en-US" sz="1700" dirty="0" smtClean="0"/>
              <a:t>to implement IMS Connect</a:t>
            </a:r>
            <a:endParaRPr lang="en-US" sz="1700" dirty="0" smtClean="0"/>
          </a:p>
          <a:p>
            <a:pPr marL="285750" indent="-285750" fontAlgn="ctr">
              <a:buFont typeface="Arial" panose="020B0604020202020204" pitchFamily="34" charset="0"/>
              <a:buChar char="•"/>
            </a:pPr>
            <a:r>
              <a:rPr lang="en-US" sz="1700" dirty="0" smtClean="0"/>
              <a:t>An adapter must be developed for DataPower to connect to </a:t>
            </a:r>
            <a:r>
              <a:rPr lang="en-US" sz="1700" dirty="0" smtClean="0"/>
              <a:t>IMS</a:t>
            </a:r>
          </a:p>
          <a:p>
            <a:pPr marL="285750" indent="-285750" fontAlgn="ctr">
              <a:buFont typeface="Arial" panose="020B0604020202020204" pitchFamily="34" charset="0"/>
              <a:buChar char="•"/>
            </a:pPr>
            <a:r>
              <a:rPr lang="en-US" sz="1700" dirty="0" smtClean="0"/>
              <a:t>A framework must be developed to ease development</a:t>
            </a:r>
            <a:endParaRPr lang="en-US" sz="1700" dirty="0" smtClean="0"/>
          </a:p>
          <a:p>
            <a:pPr marL="285750" indent="-285750" fontAlgn="ctr">
              <a:buFont typeface="Arial" panose="020B0604020202020204" pitchFamily="34" charset="0"/>
              <a:buChar char="•"/>
            </a:pPr>
            <a:r>
              <a:rPr lang="en-US" sz="1700" dirty="0" smtClean="0"/>
              <a:t>Since this technology is new to Anthem a POC has been recommended</a:t>
            </a:r>
            <a:br>
              <a:rPr lang="en-US" sz="1700" dirty="0" smtClean="0"/>
            </a:br>
            <a:endParaRPr lang="en-US" sz="1700" dirty="0" smtClean="0"/>
          </a:p>
        </p:txBody>
      </p:sp>
    </p:spTree>
    <p:extLst>
      <p:ext uri="{BB962C8B-B14F-4D97-AF65-F5344CB8AC3E}">
        <p14:creationId xmlns:p14="http://schemas.microsoft.com/office/powerpoint/2010/main" val="21875181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/>
        </p:nvSpPr>
        <p:spPr>
          <a:xfrm>
            <a:off x="672872" y="4280578"/>
            <a:ext cx="2967485" cy="1211784"/>
          </a:xfrm>
          <a:prstGeom prst="rect">
            <a:avLst/>
          </a:prstGeom>
          <a:solidFill>
            <a:schemeClr val="accent5"/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 smtClean="0">
              <a:solidFill>
                <a:schemeClr val="tx2"/>
              </a:solidFill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739546" y="4596800"/>
            <a:ext cx="2678726" cy="677917"/>
          </a:xfrm>
          <a:prstGeom prst="rect">
            <a:avLst/>
          </a:prstGeom>
          <a:solidFill>
            <a:schemeClr val="accent1">
              <a:lumMod val="40000"/>
              <a:lumOff val="60000"/>
              <a:alpha val="76000"/>
            </a:schemeClr>
          </a:solidFill>
          <a:ln w="12700">
            <a:solidFill>
              <a:schemeClr val="accent1">
                <a:shade val="95000"/>
                <a:satMod val="10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en-US" sz="1000" dirty="0" smtClean="0">
              <a:solidFill>
                <a:schemeClr val="tx1"/>
              </a:solidFill>
            </a:endParaRPr>
          </a:p>
        </p:txBody>
      </p:sp>
      <p:sp>
        <p:nvSpPr>
          <p:cNvPr id="91" name="Rectangle 90"/>
          <p:cNvSpPr/>
          <p:nvPr/>
        </p:nvSpPr>
        <p:spPr>
          <a:xfrm>
            <a:off x="887101" y="4692671"/>
            <a:ext cx="889941" cy="277515"/>
          </a:xfrm>
          <a:prstGeom prst="rect">
            <a:avLst/>
          </a:prstGeom>
          <a:solidFill>
            <a:srgbClr val="92D050"/>
          </a:solidFill>
          <a:ln w="12700">
            <a:solidFill>
              <a:schemeClr val="accent1">
                <a:shade val="95000"/>
                <a:satMod val="10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800" dirty="0" smtClean="0">
              <a:solidFill>
                <a:schemeClr val="tx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Improvement </a:t>
            </a:r>
            <a:r>
              <a:rPr lang="en-US" sz="2400" dirty="0" smtClean="0"/>
              <a:t>#5: Eliminate Transactional Dependency on IMS Membership DB’s</a:t>
            </a:r>
            <a:endParaRPr lang="en-US" sz="2400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OMPANY CONFIDENTIAL  |  FOR INTERNAL USE ONLY  |  DO NOT COPY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7917630" y="6567101"/>
            <a:ext cx="381000" cy="138499"/>
          </a:xfrm>
        </p:spPr>
        <p:txBody>
          <a:bodyPr/>
          <a:lstStyle/>
          <a:p>
            <a:fld id="{1A2DCB2D-F3A1-47AC-A248-15826C4C808C}" type="slidenum">
              <a:rPr lang="en-US" smtClean="0"/>
              <a:pPr/>
              <a:t>16</a:t>
            </a:fld>
            <a:endParaRPr lang="en-US" dirty="0"/>
          </a:p>
        </p:txBody>
      </p:sp>
      <p:grpSp>
        <p:nvGrpSpPr>
          <p:cNvPr id="24" name="Group 23"/>
          <p:cNvGrpSpPr/>
          <p:nvPr/>
        </p:nvGrpSpPr>
        <p:grpSpPr>
          <a:xfrm>
            <a:off x="698077" y="2376012"/>
            <a:ext cx="795407" cy="804183"/>
            <a:chOff x="2336015" y="2274876"/>
            <a:chExt cx="1187696" cy="1209085"/>
          </a:xfrm>
        </p:grpSpPr>
        <p:sp>
          <p:nvSpPr>
            <p:cNvPr id="6" name="Rectangle 5"/>
            <p:cNvSpPr/>
            <p:nvPr/>
          </p:nvSpPr>
          <p:spPr>
            <a:xfrm>
              <a:off x="2336015" y="2274876"/>
              <a:ext cx="1175065" cy="1209085"/>
            </a:xfrm>
            <a:prstGeom prst="rect">
              <a:avLst/>
            </a:prstGeom>
            <a:solidFill>
              <a:schemeClr val="accent5"/>
            </a:solidFill>
            <a:ln w="127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 dirty="0" err="1" smtClean="0">
                <a:solidFill>
                  <a:schemeClr val="tx2"/>
                </a:solidFill>
              </a:endParaRPr>
            </a:p>
          </p:txBody>
        </p:sp>
        <p:sp>
          <p:nvSpPr>
            <p:cNvPr id="7" name="Rectangle 6"/>
            <p:cNvSpPr/>
            <p:nvPr/>
          </p:nvSpPr>
          <p:spPr>
            <a:xfrm>
              <a:off x="2698768" y="2879315"/>
              <a:ext cx="412545" cy="354759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8" name="TextBox 7"/>
            <p:cNvSpPr txBox="1"/>
            <p:nvPr/>
          </p:nvSpPr>
          <p:spPr>
            <a:xfrm>
              <a:off x="2348643" y="2274876"/>
              <a:ext cx="1175068" cy="51147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 dirty="0" smtClean="0"/>
                <a:t>All Consumers</a:t>
              </a:r>
              <a:endParaRPr lang="en-US" sz="1000" dirty="0"/>
            </a:p>
          </p:txBody>
        </p:sp>
      </p:grpSp>
      <p:sp>
        <p:nvSpPr>
          <p:cNvPr id="10" name="Rectangle 9"/>
          <p:cNvSpPr/>
          <p:nvPr/>
        </p:nvSpPr>
        <p:spPr>
          <a:xfrm>
            <a:off x="706535" y="3374999"/>
            <a:ext cx="767774" cy="679107"/>
          </a:xfrm>
          <a:prstGeom prst="rect">
            <a:avLst/>
          </a:prstGeom>
          <a:solidFill>
            <a:schemeClr val="accent5"/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 err="1" smtClean="0">
              <a:solidFill>
                <a:schemeClr val="tx2"/>
              </a:solidFill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948364" y="3591539"/>
            <a:ext cx="268935" cy="240312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 smtClean="0">
              <a:solidFill>
                <a:schemeClr val="tx1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827298" y="3841732"/>
            <a:ext cx="70085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dirty="0" err="1" smtClean="0"/>
              <a:t>Int</a:t>
            </a:r>
            <a:r>
              <a:rPr lang="en-US" sz="1000" dirty="0" smtClean="0"/>
              <a:t> Layer</a:t>
            </a:r>
            <a:endParaRPr lang="en-US" sz="1000" dirty="0"/>
          </a:p>
        </p:txBody>
      </p:sp>
      <p:sp>
        <p:nvSpPr>
          <p:cNvPr id="15" name="TextBox 14"/>
          <p:cNvSpPr txBox="1"/>
          <p:nvPr/>
        </p:nvSpPr>
        <p:spPr>
          <a:xfrm>
            <a:off x="1671027" y="4280578"/>
            <a:ext cx="97117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dirty="0" smtClean="0"/>
              <a:t>CA Mainframe</a:t>
            </a:r>
            <a:endParaRPr lang="en-US" sz="1000" dirty="0"/>
          </a:p>
        </p:txBody>
      </p:sp>
      <p:sp>
        <p:nvSpPr>
          <p:cNvPr id="19" name="Can 18"/>
          <p:cNvSpPr/>
          <p:nvPr/>
        </p:nvSpPr>
        <p:spPr>
          <a:xfrm>
            <a:off x="1290751" y="5625713"/>
            <a:ext cx="509512" cy="473156"/>
          </a:xfrm>
          <a:prstGeom prst="can">
            <a:avLst/>
          </a:prstGeom>
          <a:ln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800" dirty="0" smtClean="0">
                <a:solidFill>
                  <a:schemeClr val="tx2"/>
                </a:solidFill>
              </a:rPr>
              <a:t>ISG </a:t>
            </a:r>
            <a:r>
              <a:rPr lang="en-US" sz="800" dirty="0" err="1" smtClean="0">
                <a:solidFill>
                  <a:schemeClr val="tx2"/>
                </a:solidFill>
              </a:rPr>
              <a:t>Mem</a:t>
            </a:r>
            <a:endParaRPr lang="en-US" sz="800" dirty="0" smtClean="0">
              <a:solidFill>
                <a:schemeClr val="tx2"/>
              </a:solidFill>
            </a:endParaRPr>
          </a:p>
          <a:p>
            <a:pPr algn="ctr"/>
            <a:r>
              <a:rPr lang="en-US" sz="800" dirty="0" smtClean="0">
                <a:solidFill>
                  <a:schemeClr val="tx2"/>
                </a:solidFill>
              </a:rPr>
              <a:t>DB</a:t>
            </a:r>
          </a:p>
        </p:txBody>
      </p:sp>
      <p:sp>
        <p:nvSpPr>
          <p:cNvPr id="22" name="Can 21"/>
          <p:cNvSpPr/>
          <p:nvPr/>
        </p:nvSpPr>
        <p:spPr>
          <a:xfrm>
            <a:off x="690676" y="5625712"/>
            <a:ext cx="509512" cy="473157"/>
          </a:xfrm>
          <a:prstGeom prst="can">
            <a:avLst/>
          </a:prstGeom>
          <a:ln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800" dirty="0" smtClean="0">
                <a:solidFill>
                  <a:schemeClr val="tx2"/>
                </a:solidFill>
              </a:rPr>
              <a:t>WGS </a:t>
            </a:r>
            <a:r>
              <a:rPr lang="en-US" sz="800" dirty="0" err="1" smtClean="0">
                <a:solidFill>
                  <a:schemeClr val="tx2"/>
                </a:solidFill>
              </a:rPr>
              <a:t>Mem</a:t>
            </a:r>
            <a:r>
              <a:rPr lang="en-US" sz="800" dirty="0" smtClean="0">
                <a:solidFill>
                  <a:schemeClr val="tx2"/>
                </a:solidFill>
              </a:rPr>
              <a:t> DB</a:t>
            </a:r>
          </a:p>
        </p:txBody>
      </p:sp>
      <p:sp>
        <p:nvSpPr>
          <p:cNvPr id="23" name="Can 22"/>
          <p:cNvSpPr/>
          <p:nvPr/>
        </p:nvSpPr>
        <p:spPr>
          <a:xfrm>
            <a:off x="2908760" y="5644764"/>
            <a:ext cx="509512" cy="454106"/>
          </a:xfrm>
          <a:prstGeom prst="can">
            <a:avLst/>
          </a:prstGeom>
          <a:ln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800" dirty="0" smtClean="0">
                <a:solidFill>
                  <a:schemeClr val="tx2"/>
                </a:solidFill>
              </a:rPr>
              <a:t>AccumODS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551783" y="1242201"/>
            <a:ext cx="3750908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 smtClean="0"/>
              <a:t>Curr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/>
              <a:t>Accum ODS IMS transaction definitions include reference to IMS Membership DB’s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4758210" y="1242200"/>
            <a:ext cx="3919319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 smtClean="0"/>
              <a:t>Futur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/>
              <a:t>New “Member-less IMS transaction definitions to eliminate dependency on Membership DB’s</a:t>
            </a:r>
          </a:p>
        </p:txBody>
      </p:sp>
      <p:cxnSp>
        <p:nvCxnSpPr>
          <p:cNvPr id="28" name="Straight Arrow Connector 27"/>
          <p:cNvCxnSpPr>
            <a:stCxn id="7" idx="2"/>
            <a:endCxn id="11" idx="0"/>
          </p:cNvCxnSpPr>
          <p:nvPr/>
        </p:nvCxnSpPr>
        <p:spPr>
          <a:xfrm>
            <a:off x="1079157" y="3013991"/>
            <a:ext cx="3675" cy="577548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Arrow Connector 29"/>
          <p:cNvCxnSpPr>
            <a:stCxn id="11" idx="2"/>
          </p:cNvCxnSpPr>
          <p:nvPr/>
        </p:nvCxnSpPr>
        <p:spPr>
          <a:xfrm>
            <a:off x="1082832" y="3831851"/>
            <a:ext cx="843" cy="893604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Arrow Connector 31"/>
          <p:cNvCxnSpPr>
            <a:endCxn id="19" idx="1"/>
          </p:cNvCxnSpPr>
          <p:nvPr/>
        </p:nvCxnSpPr>
        <p:spPr>
          <a:xfrm>
            <a:off x="1545507" y="5084968"/>
            <a:ext cx="0" cy="540745"/>
          </a:xfrm>
          <a:prstGeom prst="straightConnector1">
            <a:avLst/>
          </a:prstGeom>
          <a:ln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Arrow Connector 34"/>
          <p:cNvCxnSpPr>
            <a:endCxn id="22" idx="1"/>
          </p:cNvCxnSpPr>
          <p:nvPr/>
        </p:nvCxnSpPr>
        <p:spPr>
          <a:xfrm>
            <a:off x="945432" y="5074515"/>
            <a:ext cx="0" cy="551197"/>
          </a:xfrm>
          <a:prstGeom prst="straightConnector1">
            <a:avLst/>
          </a:prstGeom>
          <a:ln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91" idx="3"/>
            <a:endCxn id="23" idx="1"/>
          </p:cNvCxnSpPr>
          <p:nvPr/>
        </p:nvCxnSpPr>
        <p:spPr>
          <a:xfrm>
            <a:off x="1777042" y="4831429"/>
            <a:ext cx="1386474" cy="813335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Rectangle 53"/>
          <p:cNvSpPr/>
          <p:nvPr/>
        </p:nvSpPr>
        <p:spPr>
          <a:xfrm>
            <a:off x="846321" y="4797000"/>
            <a:ext cx="869913" cy="277515"/>
          </a:xfrm>
          <a:prstGeom prst="rect">
            <a:avLst/>
          </a:prstGeom>
          <a:solidFill>
            <a:srgbClr val="92D050"/>
          </a:solidFill>
          <a:ln w="12700">
            <a:solidFill>
              <a:schemeClr val="accent1">
                <a:shade val="95000"/>
                <a:satMod val="10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 smtClean="0">
                <a:solidFill>
                  <a:schemeClr val="tx1"/>
                </a:solidFill>
              </a:rPr>
              <a:t>ADD/GET</a:t>
            </a:r>
          </a:p>
          <a:p>
            <a:pPr algn="ctr"/>
            <a:r>
              <a:rPr lang="en-US" sz="800" dirty="0" smtClean="0">
                <a:solidFill>
                  <a:schemeClr val="tx1"/>
                </a:solidFill>
              </a:rPr>
              <a:t>ACCUM Trans</a:t>
            </a:r>
          </a:p>
        </p:txBody>
      </p:sp>
      <p:sp>
        <p:nvSpPr>
          <p:cNvPr id="66" name="TextBox 65"/>
          <p:cNvSpPr txBox="1"/>
          <p:nvPr/>
        </p:nvSpPr>
        <p:spPr>
          <a:xfrm>
            <a:off x="1587270" y="2134239"/>
            <a:ext cx="2053087" cy="20621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 smtClean="0"/>
              <a:t>When Accum ODS initially implemented on 1/1/2014, Real-time transactions  for all consumers were dependent  on calls to Membership DB’s.</a:t>
            </a:r>
          </a:p>
          <a:p>
            <a:endParaRPr lang="en-US" sz="800" dirty="0"/>
          </a:p>
          <a:p>
            <a:r>
              <a:rPr lang="en-US" sz="800" dirty="0" smtClean="0"/>
              <a:t>In December, 2014 that dependency was eliminated for all Consumers, except DeCare.  However, because the DeCare transaction needs  the Membership DB’s, the IMS transaction definitions still reference the Membership DB’s.</a:t>
            </a:r>
          </a:p>
          <a:p>
            <a:endParaRPr lang="en-US" sz="800" dirty="0"/>
          </a:p>
          <a:p>
            <a:r>
              <a:rPr lang="en-US" sz="800" dirty="0" smtClean="0"/>
              <a:t>Thus, whenever the  Membership DB’s are not available (during batch transition from R/W to R/O mode, the Accum ODS transactions stall for all consumers</a:t>
            </a:r>
            <a:endParaRPr lang="en-US" sz="800" dirty="0"/>
          </a:p>
        </p:txBody>
      </p:sp>
      <p:sp>
        <p:nvSpPr>
          <p:cNvPr id="117" name="Rectangle 116"/>
          <p:cNvSpPr/>
          <p:nvPr/>
        </p:nvSpPr>
        <p:spPr>
          <a:xfrm>
            <a:off x="4827508" y="4280578"/>
            <a:ext cx="3856463" cy="1165786"/>
          </a:xfrm>
          <a:prstGeom prst="rect">
            <a:avLst/>
          </a:prstGeom>
          <a:solidFill>
            <a:schemeClr val="accent5"/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 smtClean="0">
              <a:solidFill>
                <a:schemeClr val="tx2"/>
              </a:solidFill>
            </a:endParaRPr>
          </a:p>
        </p:txBody>
      </p:sp>
      <p:sp>
        <p:nvSpPr>
          <p:cNvPr id="118" name="Rectangle 117"/>
          <p:cNvSpPr/>
          <p:nvPr/>
        </p:nvSpPr>
        <p:spPr>
          <a:xfrm>
            <a:off x="4894182" y="4550802"/>
            <a:ext cx="3773210" cy="723936"/>
          </a:xfrm>
          <a:prstGeom prst="rect">
            <a:avLst/>
          </a:prstGeom>
          <a:solidFill>
            <a:schemeClr val="accent1">
              <a:lumMod val="40000"/>
              <a:lumOff val="60000"/>
              <a:alpha val="76000"/>
            </a:schemeClr>
          </a:solidFill>
          <a:ln w="12700">
            <a:solidFill>
              <a:schemeClr val="accent1">
                <a:shade val="95000"/>
                <a:satMod val="10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en-US" sz="1000" dirty="0" smtClean="0">
              <a:solidFill>
                <a:schemeClr val="tx1"/>
              </a:solidFill>
            </a:endParaRPr>
          </a:p>
        </p:txBody>
      </p:sp>
      <p:sp>
        <p:nvSpPr>
          <p:cNvPr id="119" name="Rectangle 118"/>
          <p:cNvSpPr/>
          <p:nvPr/>
        </p:nvSpPr>
        <p:spPr>
          <a:xfrm>
            <a:off x="5041738" y="4646673"/>
            <a:ext cx="942909" cy="277515"/>
          </a:xfrm>
          <a:prstGeom prst="rect">
            <a:avLst/>
          </a:prstGeom>
          <a:solidFill>
            <a:srgbClr val="92D050"/>
          </a:solidFill>
          <a:ln w="12700">
            <a:solidFill>
              <a:schemeClr val="accent1">
                <a:shade val="95000"/>
                <a:satMod val="10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800" dirty="0" smtClean="0">
              <a:solidFill>
                <a:schemeClr val="tx1"/>
              </a:solidFill>
            </a:endParaRPr>
          </a:p>
        </p:txBody>
      </p:sp>
      <p:grpSp>
        <p:nvGrpSpPr>
          <p:cNvPr id="120" name="Group 119"/>
          <p:cNvGrpSpPr/>
          <p:nvPr/>
        </p:nvGrpSpPr>
        <p:grpSpPr>
          <a:xfrm>
            <a:off x="4809583" y="2233512"/>
            <a:ext cx="795407" cy="922546"/>
            <a:chOff x="2336015" y="2274875"/>
            <a:chExt cx="1187696" cy="1476051"/>
          </a:xfrm>
        </p:grpSpPr>
        <p:sp>
          <p:nvSpPr>
            <p:cNvPr id="121" name="Rectangle 120"/>
            <p:cNvSpPr/>
            <p:nvPr/>
          </p:nvSpPr>
          <p:spPr>
            <a:xfrm>
              <a:off x="2336015" y="2274875"/>
              <a:ext cx="1175065" cy="1476051"/>
            </a:xfrm>
            <a:prstGeom prst="rect">
              <a:avLst/>
            </a:prstGeom>
            <a:solidFill>
              <a:schemeClr val="accent5"/>
            </a:solidFill>
            <a:ln w="127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 dirty="0" err="1" smtClean="0">
                <a:solidFill>
                  <a:schemeClr val="tx2"/>
                </a:solidFill>
              </a:endParaRPr>
            </a:p>
          </p:txBody>
        </p:sp>
        <p:sp>
          <p:nvSpPr>
            <p:cNvPr id="122" name="Rectangle 121"/>
            <p:cNvSpPr/>
            <p:nvPr/>
          </p:nvSpPr>
          <p:spPr>
            <a:xfrm>
              <a:off x="2698768" y="2835207"/>
              <a:ext cx="412545" cy="354759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23" name="TextBox 122"/>
            <p:cNvSpPr txBox="1"/>
            <p:nvPr/>
          </p:nvSpPr>
          <p:spPr>
            <a:xfrm>
              <a:off x="2348643" y="2274876"/>
              <a:ext cx="1175068" cy="31475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 dirty="0" smtClean="0"/>
                <a:t>DeCare</a:t>
              </a:r>
              <a:endParaRPr lang="en-US" sz="1000" dirty="0"/>
            </a:p>
          </p:txBody>
        </p:sp>
      </p:grpSp>
      <p:sp>
        <p:nvSpPr>
          <p:cNvPr id="124" name="Rectangle 123"/>
          <p:cNvSpPr/>
          <p:nvPr/>
        </p:nvSpPr>
        <p:spPr>
          <a:xfrm>
            <a:off x="4829871" y="3381593"/>
            <a:ext cx="3739106" cy="679107"/>
          </a:xfrm>
          <a:prstGeom prst="rect">
            <a:avLst/>
          </a:prstGeom>
          <a:solidFill>
            <a:schemeClr val="accent5"/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 err="1" smtClean="0">
              <a:solidFill>
                <a:schemeClr val="tx2"/>
              </a:solidFill>
            </a:endParaRPr>
          </a:p>
        </p:txBody>
      </p:sp>
      <p:sp>
        <p:nvSpPr>
          <p:cNvPr id="125" name="Rectangle 124"/>
          <p:cNvSpPr/>
          <p:nvPr/>
        </p:nvSpPr>
        <p:spPr>
          <a:xfrm>
            <a:off x="5016740" y="3545541"/>
            <a:ext cx="376043" cy="240312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 smtClean="0">
              <a:solidFill>
                <a:schemeClr val="tx1"/>
              </a:solidFill>
            </a:endParaRPr>
          </a:p>
        </p:txBody>
      </p:sp>
      <p:sp>
        <p:nvSpPr>
          <p:cNvPr id="127" name="TextBox 126"/>
          <p:cNvSpPr txBox="1"/>
          <p:nvPr/>
        </p:nvSpPr>
        <p:spPr>
          <a:xfrm>
            <a:off x="6232282" y="4218341"/>
            <a:ext cx="97117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dirty="0" smtClean="0"/>
              <a:t>CA Mainframe</a:t>
            </a:r>
            <a:endParaRPr lang="en-US" sz="1000" dirty="0"/>
          </a:p>
        </p:txBody>
      </p:sp>
      <p:sp>
        <p:nvSpPr>
          <p:cNvPr id="128" name="Can 127"/>
          <p:cNvSpPr/>
          <p:nvPr/>
        </p:nvSpPr>
        <p:spPr>
          <a:xfrm>
            <a:off x="5592029" y="5579715"/>
            <a:ext cx="509512" cy="519155"/>
          </a:xfrm>
          <a:prstGeom prst="can">
            <a:avLst/>
          </a:prstGeom>
          <a:ln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800" dirty="0" smtClean="0">
                <a:solidFill>
                  <a:schemeClr val="tx2"/>
                </a:solidFill>
              </a:rPr>
              <a:t>ISG </a:t>
            </a:r>
            <a:r>
              <a:rPr lang="en-US" sz="800" dirty="0" err="1" smtClean="0">
                <a:solidFill>
                  <a:schemeClr val="tx2"/>
                </a:solidFill>
              </a:rPr>
              <a:t>Mem</a:t>
            </a:r>
            <a:endParaRPr lang="en-US" sz="800" dirty="0" smtClean="0">
              <a:solidFill>
                <a:schemeClr val="tx2"/>
              </a:solidFill>
            </a:endParaRPr>
          </a:p>
          <a:p>
            <a:pPr algn="ctr"/>
            <a:r>
              <a:rPr lang="en-US" sz="800" dirty="0" smtClean="0">
                <a:solidFill>
                  <a:schemeClr val="tx2"/>
                </a:solidFill>
              </a:rPr>
              <a:t>DB</a:t>
            </a:r>
          </a:p>
        </p:txBody>
      </p:sp>
      <p:sp>
        <p:nvSpPr>
          <p:cNvPr id="129" name="Can 128"/>
          <p:cNvSpPr/>
          <p:nvPr/>
        </p:nvSpPr>
        <p:spPr>
          <a:xfrm>
            <a:off x="4991954" y="5579714"/>
            <a:ext cx="509512" cy="519155"/>
          </a:xfrm>
          <a:prstGeom prst="can">
            <a:avLst/>
          </a:prstGeom>
          <a:ln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800" dirty="0" smtClean="0">
                <a:solidFill>
                  <a:schemeClr val="tx2"/>
                </a:solidFill>
              </a:rPr>
              <a:t>WGS </a:t>
            </a:r>
            <a:r>
              <a:rPr lang="en-US" sz="800" dirty="0" err="1" smtClean="0">
                <a:solidFill>
                  <a:schemeClr val="tx2"/>
                </a:solidFill>
              </a:rPr>
              <a:t>Mem</a:t>
            </a:r>
            <a:r>
              <a:rPr lang="en-US" sz="800" dirty="0" smtClean="0">
                <a:solidFill>
                  <a:schemeClr val="tx2"/>
                </a:solidFill>
              </a:rPr>
              <a:t> DB</a:t>
            </a:r>
          </a:p>
        </p:txBody>
      </p:sp>
      <p:sp>
        <p:nvSpPr>
          <p:cNvPr id="130" name="Can 129"/>
          <p:cNvSpPr/>
          <p:nvPr/>
        </p:nvSpPr>
        <p:spPr>
          <a:xfrm>
            <a:off x="7878124" y="5598765"/>
            <a:ext cx="509512" cy="500105"/>
          </a:xfrm>
          <a:prstGeom prst="can">
            <a:avLst/>
          </a:prstGeom>
          <a:ln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800" dirty="0" smtClean="0">
                <a:solidFill>
                  <a:schemeClr val="tx2"/>
                </a:solidFill>
              </a:rPr>
              <a:t>AccumODS</a:t>
            </a:r>
          </a:p>
        </p:txBody>
      </p:sp>
      <p:cxnSp>
        <p:nvCxnSpPr>
          <p:cNvPr id="131" name="Straight Arrow Connector 130"/>
          <p:cNvCxnSpPr>
            <a:stCxn id="122" idx="2"/>
            <a:endCxn id="125" idx="0"/>
          </p:cNvCxnSpPr>
          <p:nvPr/>
        </p:nvCxnSpPr>
        <p:spPr>
          <a:xfrm>
            <a:off x="5190663" y="2805453"/>
            <a:ext cx="14099" cy="740088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2" name="Straight Arrow Connector 131"/>
          <p:cNvCxnSpPr/>
          <p:nvPr/>
        </p:nvCxnSpPr>
        <p:spPr>
          <a:xfrm>
            <a:off x="5208741" y="3759187"/>
            <a:ext cx="2774" cy="887486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3" name="Straight Arrow Connector 132"/>
          <p:cNvCxnSpPr>
            <a:endCxn id="128" idx="1"/>
          </p:cNvCxnSpPr>
          <p:nvPr/>
        </p:nvCxnSpPr>
        <p:spPr>
          <a:xfrm>
            <a:off x="5846785" y="5038970"/>
            <a:ext cx="0" cy="540745"/>
          </a:xfrm>
          <a:prstGeom prst="straightConnector1">
            <a:avLst/>
          </a:prstGeom>
          <a:ln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4" name="Straight Arrow Connector 133"/>
          <p:cNvCxnSpPr>
            <a:endCxn id="129" idx="1"/>
          </p:cNvCxnSpPr>
          <p:nvPr/>
        </p:nvCxnSpPr>
        <p:spPr>
          <a:xfrm>
            <a:off x="5246710" y="5028517"/>
            <a:ext cx="0" cy="551197"/>
          </a:xfrm>
          <a:prstGeom prst="straightConnector1">
            <a:avLst/>
          </a:prstGeom>
          <a:ln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5" name="Straight Arrow Connector 134"/>
          <p:cNvCxnSpPr>
            <a:stCxn id="136" idx="3"/>
            <a:endCxn id="130" idx="2"/>
          </p:cNvCxnSpPr>
          <p:nvPr/>
        </p:nvCxnSpPr>
        <p:spPr>
          <a:xfrm>
            <a:off x="5870870" y="4889760"/>
            <a:ext cx="2007254" cy="959058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6" name="Rectangle 135"/>
          <p:cNvSpPr/>
          <p:nvPr/>
        </p:nvSpPr>
        <p:spPr>
          <a:xfrm>
            <a:off x="5000957" y="4751002"/>
            <a:ext cx="869913" cy="277515"/>
          </a:xfrm>
          <a:prstGeom prst="rect">
            <a:avLst/>
          </a:prstGeom>
          <a:solidFill>
            <a:srgbClr val="92D050"/>
          </a:solidFill>
          <a:ln w="12700">
            <a:solidFill>
              <a:schemeClr val="accent1">
                <a:shade val="95000"/>
                <a:satMod val="10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 smtClean="0">
                <a:solidFill>
                  <a:schemeClr val="tx1"/>
                </a:solidFill>
              </a:rPr>
              <a:t>ADD/GET</a:t>
            </a:r>
          </a:p>
          <a:p>
            <a:pPr algn="ctr"/>
            <a:r>
              <a:rPr lang="en-US" sz="800" dirty="0" smtClean="0">
                <a:solidFill>
                  <a:schemeClr val="tx1"/>
                </a:solidFill>
              </a:rPr>
              <a:t>ACCUM Trans</a:t>
            </a:r>
          </a:p>
        </p:txBody>
      </p:sp>
      <p:grpSp>
        <p:nvGrpSpPr>
          <p:cNvPr id="144" name="Group 143"/>
          <p:cNvGrpSpPr/>
          <p:nvPr/>
        </p:nvGrpSpPr>
        <p:grpSpPr>
          <a:xfrm>
            <a:off x="7773569" y="2245388"/>
            <a:ext cx="795407" cy="919902"/>
            <a:chOff x="2336015" y="2274876"/>
            <a:chExt cx="1187696" cy="1491406"/>
          </a:xfrm>
        </p:grpSpPr>
        <p:sp>
          <p:nvSpPr>
            <p:cNvPr id="145" name="Rectangle 144"/>
            <p:cNvSpPr/>
            <p:nvPr/>
          </p:nvSpPr>
          <p:spPr>
            <a:xfrm>
              <a:off x="2336015" y="2274876"/>
              <a:ext cx="1175065" cy="1491406"/>
            </a:xfrm>
            <a:prstGeom prst="rect">
              <a:avLst/>
            </a:prstGeom>
            <a:solidFill>
              <a:schemeClr val="accent5"/>
            </a:solidFill>
            <a:ln w="127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 dirty="0" err="1" smtClean="0">
                <a:solidFill>
                  <a:schemeClr val="tx2"/>
                </a:solidFill>
              </a:endParaRPr>
            </a:p>
          </p:txBody>
        </p:sp>
        <p:sp>
          <p:nvSpPr>
            <p:cNvPr id="146" name="Rectangle 145"/>
            <p:cNvSpPr/>
            <p:nvPr/>
          </p:nvSpPr>
          <p:spPr>
            <a:xfrm>
              <a:off x="2737409" y="2879315"/>
              <a:ext cx="412545" cy="354759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47" name="TextBox 146"/>
            <p:cNvSpPr txBox="1"/>
            <p:nvPr/>
          </p:nvSpPr>
          <p:spPr>
            <a:xfrm>
              <a:off x="2348643" y="2274876"/>
              <a:ext cx="1175068" cy="51147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 dirty="0" smtClean="0"/>
                <a:t>All Other Consumers</a:t>
              </a:r>
              <a:endParaRPr lang="en-US" sz="1000" dirty="0"/>
            </a:p>
          </p:txBody>
        </p:sp>
      </p:grpSp>
      <p:sp>
        <p:nvSpPr>
          <p:cNvPr id="153" name="Rectangle 152"/>
          <p:cNvSpPr/>
          <p:nvPr/>
        </p:nvSpPr>
        <p:spPr>
          <a:xfrm>
            <a:off x="7736933" y="4663925"/>
            <a:ext cx="889941" cy="410590"/>
          </a:xfrm>
          <a:prstGeom prst="rect">
            <a:avLst/>
          </a:prstGeom>
          <a:solidFill>
            <a:srgbClr val="FFC000"/>
          </a:solidFill>
          <a:ln w="12700">
            <a:solidFill>
              <a:schemeClr val="accent1">
                <a:shade val="95000"/>
                <a:satMod val="10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800" dirty="0" smtClean="0">
              <a:solidFill>
                <a:schemeClr val="tx1"/>
              </a:solidFill>
            </a:endParaRPr>
          </a:p>
        </p:txBody>
      </p:sp>
      <p:sp>
        <p:nvSpPr>
          <p:cNvPr id="154" name="Rectangle 153"/>
          <p:cNvSpPr/>
          <p:nvPr/>
        </p:nvSpPr>
        <p:spPr>
          <a:xfrm>
            <a:off x="7696153" y="4768254"/>
            <a:ext cx="869913" cy="423844"/>
          </a:xfrm>
          <a:prstGeom prst="rect">
            <a:avLst/>
          </a:prstGeom>
          <a:solidFill>
            <a:srgbClr val="FFC000"/>
          </a:solidFill>
          <a:ln w="12700">
            <a:solidFill>
              <a:schemeClr val="accent1">
                <a:shade val="95000"/>
                <a:satMod val="10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 smtClean="0">
                <a:solidFill>
                  <a:schemeClr val="tx1"/>
                </a:solidFill>
              </a:rPr>
              <a:t>Member-less</a:t>
            </a:r>
          </a:p>
          <a:p>
            <a:pPr algn="ctr"/>
            <a:r>
              <a:rPr lang="en-US" sz="800" dirty="0" smtClean="0">
                <a:solidFill>
                  <a:schemeClr val="tx1"/>
                </a:solidFill>
              </a:rPr>
              <a:t>ADD/GET</a:t>
            </a:r>
          </a:p>
          <a:p>
            <a:pPr algn="ctr"/>
            <a:r>
              <a:rPr lang="en-US" sz="800" dirty="0" smtClean="0">
                <a:solidFill>
                  <a:schemeClr val="tx1"/>
                </a:solidFill>
              </a:rPr>
              <a:t>ACCUM Trans</a:t>
            </a:r>
          </a:p>
        </p:txBody>
      </p:sp>
      <p:sp>
        <p:nvSpPr>
          <p:cNvPr id="161" name="TextBox 160"/>
          <p:cNvSpPr txBox="1"/>
          <p:nvPr/>
        </p:nvSpPr>
        <p:spPr>
          <a:xfrm>
            <a:off x="6430358" y="3385300"/>
            <a:ext cx="70085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dirty="0" err="1" smtClean="0"/>
              <a:t>Int</a:t>
            </a:r>
            <a:r>
              <a:rPr lang="en-US" sz="1000" dirty="0" smtClean="0"/>
              <a:t> Layer</a:t>
            </a:r>
            <a:endParaRPr lang="en-US" sz="1000" dirty="0"/>
          </a:p>
        </p:txBody>
      </p:sp>
      <p:cxnSp>
        <p:nvCxnSpPr>
          <p:cNvPr id="163" name="Straight Arrow Connector 162"/>
          <p:cNvCxnSpPr>
            <a:stCxn id="146" idx="2"/>
            <a:endCxn id="61" idx="0"/>
          </p:cNvCxnSpPr>
          <p:nvPr/>
        </p:nvCxnSpPr>
        <p:spPr>
          <a:xfrm flipH="1">
            <a:off x="8176516" y="2837023"/>
            <a:ext cx="4011" cy="681852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5" name="Straight Arrow Connector 164"/>
          <p:cNvCxnSpPr>
            <a:stCxn id="61" idx="2"/>
            <a:endCxn id="153" idx="0"/>
          </p:cNvCxnSpPr>
          <p:nvPr/>
        </p:nvCxnSpPr>
        <p:spPr>
          <a:xfrm>
            <a:off x="8176516" y="3759187"/>
            <a:ext cx="5388" cy="904738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7" name="Straight Arrow Connector 166"/>
          <p:cNvCxnSpPr>
            <a:stCxn id="154" idx="2"/>
            <a:endCxn id="130" idx="1"/>
          </p:cNvCxnSpPr>
          <p:nvPr/>
        </p:nvCxnSpPr>
        <p:spPr>
          <a:xfrm>
            <a:off x="8131110" y="5192098"/>
            <a:ext cx="1770" cy="406667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7" name="TextBox 186"/>
          <p:cNvSpPr txBox="1"/>
          <p:nvPr/>
        </p:nvSpPr>
        <p:spPr>
          <a:xfrm>
            <a:off x="5662872" y="2275785"/>
            <a:ext cx="2109994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 smtClean="0"/>
              <a:t>DeCare uses existing IMS transactions, but all other consumers use new Member-less versions of the transactions</a:t>
            </a:r>
          </a:p>
          <a:p>
            <a:endParaRPr lang="en-US" sz="800" dirty="0"/>
          </a:p>
          <a:p>
            <a:r>
              <a:rPr lang="en-US" sz="800" dirty="0" smtClean="0"/>
              <a:t>Consumers using Member-less transactions will  not be stalled during nightly batch when Membership DB’s are temporarily unavailable</a:t>
            </a:r>
            <a:endParaRPr lang="en-US" sz="800" dirty="0"/>
          </a:p>
        </p:txBody>
      </p:sp>
      <p:cxnSp>
        <p:nvCxnSpPr>
          <p:cNvPr id="59" name="Straight Connector 58"/>
          <p:cNvCxnSpPr/>
          <p:nvPr/>
        </p:nvCxnSpPr>
        <p:spPr>
          <a:xfrm>
            <a:off x="4332647" y="1626921"/>
            <a:ext cx="0" cy="435378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Rectangle 60"/>
          <p:cNvSpPr/>
          <p:nvPr/>
        </p:nvSpPr>
        <p:spPr>
          <a:xfrm>
            <a:off x="7988494" y="3518875"/>
            <a:ext cx="376043" cy="240312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 smtClean="0">
              <a:solidFill>
                <a:schemeClr val="tx1"/>
              </a:solidFill>
            </a:endParaRPr>
          </a:p>
        </p:txBody>
      </p:sp>
      <p:sp>
        <p:nvSpPr>
          <p:cNvPr id="65" name="TextBox 64"/>
          <p:cNvSpPr txBox="1"/>
          <p:nvPr/>
        </p:nvSpPr>
        <p:spPr>
          <a:xfrm>
            <a:off x="1854171" y="4600632"/>
            <a:ext cx="60488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dirty="0" smtClean="0"/>
              <a:t>IMS</a:t>
            </a:r>
            <a:endParaRPr lang="en-US" sz="1000" dirty="0"/>
          </a:p>
        </p:txBody>
      </p:sp>
      <p:sp>
        <p:nvSpPr>
          <p:cNvPr id="67" name="TextBox 66"/>
          <p:cNvSpPr txBox="1"/>
          <p:nvPr/>
        </p:nvSpPr>
        <p:spPr>
          <a:xfrm>
            <a:off x="6366711" y="4554491"/>
            <a:ext cx="60488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dirty="0" smtClean="0"/>
              <a:t>IMS</a:t>
            </a:r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57426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" name="Rectangle 90"/>
          <p:cNvSpPr/>
          <p:nvPr/>
        </p:nvSpPr>
        <p:spPr>
          <a:xfrm>
            <a:off x="1191096" y="4918084"/>
            <a:ext cx="1683713" cy="539382"/>
          </a:xfrm>
          <a:prstGeom prst="rect">
            <a:avLst/>
          </a:prstGeom>
          <a:solidFill>
            <a:schemeClr val="accent5"/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 smtClean="0">
              <a:solidFill>
                <a:schemeClr val="tx2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 smtClean="0"/>
              <a:t>Improvement #6: Staggered Upgrades of CA Mainframe</a:t>
            </a:r>
            <a:endParaRPr lang="en-US" sz="2400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COMPANY CONFIDENTIAL  |  FOR INTERNAL USE ONLY  |  DO NOT COPY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2DCB2D-F3A1-47AC-A248-15826C4C808C}" type="slidenum">
              <a:rPr lang="en-US" smtClean="0"/>
              <a:pPr/>
              <a:t>17</a:t>
            </a:fld>
            <a:endParaRPr lang="en-US" dirty="0"/>
          </a:p>
        </p:txBody>
      </p:sp>
      <p:sp>
        <p:nvSpPr>
          <p:cNvPr id="12" name="Rectangle 11"/>
          <p:cNvSpPr/>
          <p:nvPr/>
        </p:nvSpPr>
        <p:spPr>
          <a:xfrm>
            <a:off x="1441889" y="2926410"/>
            <a:ext cx="1094907" cy="1901323"/>
          </a:xfrm>
          <a:prstGeom prst="rect">
            <a:avLst/>
          </a:prstGeom>
          <a:solidFill>
            <a:schemeClr val="accent5"/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dirty="0" err="1" smtClean="0">
              <a:solidFill>
                <a:schemeClr val="tx2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1570957" y="2464745"/>
            <a:ext cx="833718" cy="342828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>
                <a:solidFill>
                  <a:schemeClr val="tx1"/>
                </a:solidFill>
              </a:rPr>
              <a:t>ODS</a:t>
            </a:r>
          </a:p>
          <a:p>
            <a:pPr algn="ctr"/>
            <a:r>
              <a:rPr lang="en-US" sz="1000" dirty="0" smtClean="0">
                <a:solidFill>
                  <a:schemeClr val="tx1"/>
                </a:solidFill>
              </a:rPr>
              <a:t>Consumer</a:t>
            </a:r>
          </a:p>
        </p:txBody>
      </p:sp>
      <p:sp>
        <p:nvSpPr>
          <p:cNvPr id="15" name="Rectangle 14"/>
          <p:cNvSpPr/>
          <p:nvPr/>
        </p:nvSpPr>
        <p:spPr>
          <a:xfrm>
            <a:off x="1568876" y="3039806"/>
            <a:ext cx="827173" cy="353683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>
                <a:solidFill>
                  <a:schemeClr val="tx1"/>
                </a:solidFill>
              </a:rPr>
              <a:t>DataPower</a:t>
            </a:r>
          </a:p>
          <a:p>
            <a:pPr algn="ctr"/>
            <a:r>
              <a:rPr lang="en-US" sz="1000" dirty="0" smtClean="0">
                <a:solidFill>
                  <a:schemeClr val="tx1"/>
                </a:solidFill>
              </a:rPr>
              <a:t>Gateway</a:t>
            </a:r>
          </a:p>
        </p:txBody>
      </p:sp>
      <p:sp>
        <p:nvSpPr>
          <p:cNvPr id="16" name="Rectangle 15"/>
          <p:cNvSpPr/>
          <p:nvPr/>
        </p:nvSpPr>
        <p:spPr>
          <a:xfrm>
            <a:off x="1570566" y="3520349"/>
            <a:ext cx="825483" cy="353683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>
                <a:solidFill>
                  <a:schemeClr val="tx1"/>
                </a:solidFill>
              </a:rPr>
              <a:t>BPM Servers</a:t>
            </a:r>
          </a:p>
        </p:txBody>
      </p:sp>
      <p:sp>
        <p:nvSpPr>
          <p:cNvPr id="17" name="Rectangle 16"/>
          <p:cNvSpPr/>
          <p:nvPr/>
        </p:nvSpPr>
        <p:spPr>
          <a:xfrm>
            <a:off x="1562330" y="3971449"/>
            <a:ext cx="833719" cy="351312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>
                <a:solidFill>
                  <a:schemeClr val="tx1"/>
                </a:solidFill>
              </a:rPr>
              <a:t>DataPower</a:t>
            </a:r>
          </a:p>
          <a:p>
            <a:pPr algn="ctr"/>
            <a:r>
              <a:rPr lang="en-US" sz="1000" dirty="0" smtClean="0">
                <a:solidFill>
                  <a:schemeClr val="tx1"/>
                </a:solidFill>
              </a:rPr>
              <a:t>DAL</a:t>
            </a:r>
          </a:p>
        </p:txBody>
      </p:sp>
      <p:sp>
        <p:nvSpPr>
          <p:cNvPr id="18" name="Rectangle 17"/>
          <p:cNvSpPr/>
          <p:nvPr/>
        </p:nvSpPr>
        <p:spPr>
          <a:xfrm>
            <a:off x="1562330" y="4409119"/>
            <a:ext cx="833719" cy="354759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>
                <a:solidFill>
                  <a:schemeClr val="tx1"/>
                </a:solidFill>
              </a:rPr>
              <a:t>MQ</a:t>
            </a:r>
          </a:p>
        </p:txBody>
      </p:sp>
      <p:sp>
        <p:nvSpPr>
          <p:cNvPr id="48" name="Rectangle 47"/>
          <p:cNvSpPr/>
          <p:nvPr/>
        </p:nvSpPr>
        <p:spPr>
          <a:xfrm>
            <a:off x="1259534" y="4989979"/>
            <a:ext cx="715992" cy="386984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>
                <a:solidFill>
                  <a:schemeClr val="tx1"/>
                </a:solidFill>
              </a:rPr>
              <a:t>Sys A</a:t>
            </a:r>
          </a:p>
        </p:txBody>
      </p:sp>
      <p:sp>
        <p:nvSpPr>
          <p:cNvPr id="49" name="Rectangle 48"/>
          <p:cNvSpPr/>
          <p:nvPr/>
        </p:nvSpPr>
        <p:spPr>
          <a:xfrm>
            <a:off x="2089809" y="4993010"/>
            <a:ext cx="715992" cy="386984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>
                <a:solidFill>
                  <a:schemeClr val="tx1"/>
                </a:solidFill>
              </a:rPr>
              <a:t>SysB</a:t>
            </a:r>
          </a:p>
        </p:txBody>
      </p:sp>
      <p:cxnSp>
        <p:nvCxnSpPr>
          <p:cNvPr id="53" name="Straight Connector 52"/>
          <p:cNvCxnSpPr/>
          <p:nvPr/>
        </p:nvCxnSpPr>
        <p:spPr>
          <a:xfrm flipH="1">
            <a:off x="1230610" y="4993010"/>
            <a:ext cx="751852" cy="398094"/>
          </a:xfrm>
          <a:prstGeom prst="line">
            <a:avLst/>
          </a:prstGeom>
          <a:ln w="63500">
            <a:solidFill>
              <a:schemeClr val="accent6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/>
          <p:cNvCxnSpPr/>
          <p:nvPr/>
        </p:nvCxnSpPr>
        <p:spPr>
          <a:xfrm flipH="1" flipV="1">
            <a:off x="1277263" y="4989979"/>
            <a:ext cx="698263" cy="385199"/>
          </a:xfrm>
          <a:prstGeom prst="line">
            <a:avLst/>
          </a:prstGeom>
          <a:ln w="63500">
            <a:solidFill>
              <a:schemeClr val="accent6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Box 56"/>
          <p:cNvSpPr txBox="1"/>
          <p:nvPr/>
        </p:nvSpPr>
        <p:spPr>
          <a:xfrm>
            <a:off x="551783" y="1313760"/>
            <a:ext cx="2628339" cy="9848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 smtClean="0"/>
              <a:t>Curr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/>
              <a:t>Both LPARs of CA mainframe taken down for 7 hours once per month</a:t>
            </a:r>
          </a:p>
        </p:txBody>
      </p:sp>
      <p:sp>
        <p:nvSpPr>
          <p:cNvPr id="58" name="TextBox 57"/>
          <p:cNvSpPr txBox="1"/>
          <p:nvPr/>
        </p:nvSpPr>
        <p:spPr>
          <a:xfrm>
            <a:off x="3404763" y="1313758"/>
            <a:ext cx="520248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 smtClean="0"/>
              <a:t>Futur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/>
              <a:t>Each LPAR of CA Mainframe is taken down in a staggered fashion so that Accum ODS services are not disrupted</a:t>
            </a:r>
          </a:p>
        </p:txBody>
      </p:sp>
      <p:sp>
        <p:nvSpPr>
          <p:cNvPr id="73" name="Can 72"/>
          <p:cNvSpPr/>
          <p:nvPr/>
        </p:nvSpPr>
        <p:spPr>
          <a:xfrm>
            <a:off x="1728551" y="5500716"/>
            <a:ext cx="509512" cy="500105"/>
          </a:xfrm>
          <a:prstGeom prst="can">
            <a:avLst/>
          </a:prstGeom>
          <a:ln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800" dirty="0" smtClean="0">
                <a:solidFill>
                  <a:schemeClr val="tx2"/>
                </a:solidFill>
              </a:rPr>
              <a:t>AccumODS</a:t>
            </a:r>
          </a:p>
        </p:txBody>
      </p:sp>
      <p:sp>
        <p:nvSpPr>
          <p:cNvPr id="75" name="TextBox 74"/>
          <p:cNvSpPr txBox="1"/>
          <p:nvPr/>
        </p:nvSpPr>
        <p:spPr>
          <a:xfrm>
            <a:off x="184402" y="4938425"/>
            <a:ext cx="107513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 smtClean="0"/>
              <a:t>CA </a:t>
            </a:r>
          </a:p>
          <a:p>
            <a:pPr algn="ctr"/>
            <a:r>
              <a:rPr lang="en-US" sz="1200" dirty="0" smtClean="0"/>
              <a:t>Mainframe</a:t>
            </a:r>
            <a:endParaRPr lang="en-US" sz="1200" dirty="0"/>
          </a:p>
        </p:txBody>
      </p:sp>
      <p:cxnSp>
        <p:nvCxnSpPr>
          <p:cNvPr id="77" name="Straight Connector 76"/>
          <p:cNvCxnSpPr/>
          <p:nvPr/>
        </p:nvCxnSpPr>
        <p:spPr>
          <a:xfrm flipH="1">
            <a:off x="2053949" y="4973086"/>
            <a:ext cx="751852" cy="398094"/>
          </a:xfrm>
          <a:prstGeom prst="line">
            <a:avLst/>
          </a:prstGeom>
          <a:ln w="63500">
            <a:solidFill>
              <a:schemeClr val="accent6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Straight Connector 78"/>
          <p:cNvCxnSpPr/>
          <p:nvPr/>
        </p:nvCxnSpPr>
        <p:spPr>
          <a:xfrm flipH="1" flipV="1">
            <a:off x="2073659" y="4985981"/>
            <a:ext cx="698263" cy="385199"/>
          </a:xfrm>
          <a:prstGeom prst="line">
            <a:avLst/>
          </a:prstGeom>
          <a:ln w="63500">
            <a:solidFill>
              <a:schemeClr val="accent6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/>
          <p:cNvCxnSpPr/>
          <p:nvPr/>
        </p:nvCxnSpPr>
        <p:spPr>
          <a:xfrm>
            <a:off x="3180122" y="2222552"/>
            <a:ext cx="0" cy="375814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1" name="TextBox 80"/>
          <p:cNvSpPr txBox="1"/>
          <p:nvPr/>
        </p:nvSpPr>
        <p:spPr>
          <a:xfrm>
            <a:off x="267791" y="3643199"/>
            <a:ext cx="107513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 smtClean="0"/>
              <a:t>Integration</a:t>
            </a:r>
          </a:p>
          <a:p>
            <a:pPr algn="ctr"/>
            <a:r>
              <a:rPr lang="en-US" sz="1200" dirty="0" smtClean="0"/>
              <a:t>Layer</a:t>
            </a:r>
            <a:endParaRPr lang="en-US" sz="1200" dirty="0"/>
          </a:p>
        </p:txBody>
      </p:sp>
      <p:cxnSp>
        <p:nvCxnSpPr>
          <p:cNvPr id="31" name="Straight Arrow Connector 30"/>
          <p:cNvCxnSpPr>
            <a:stCxn id="13" idx="2"/>
            <a:endCxn id="15" idx="0"/>
          </p:cNvCxnSpPr>
          <p:nvPr/>
        </p:nvCxnSpPr>
        <p:spPr>
          <a:xfrm flipH="1">
            <a:off x="1982463" y="2807573"/>
            <a:ext cx="5353" cy="232233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Arrow Connector 32"/>
          <p:cNvCxnSpPr>
            <a:stCxn id="15" idx="2"/>
            <a:endCxn id="16" idx="0"/>
          </p:cNvCxnSpPr>
          <p:nvPr/>
        </p:nvCxnSpPr>
        <p:spPr>
          <a:xfrm>
            <a:off x="1982463" y="3393489"/>
            <a:ext cx="845" cy="12686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Arrow Connector 34"/>
          <p:cNvCxnSpPr>
            <a:stCxn id="16" idx="2"/>
            <a:endCxn id="17" idx="0"/>
          </p:cNvCxnSpPr>
          <p:nvPr/>
        </p:nvCxnSpPr>
        <p:spPr>
          <a:xfrm flipH="1">
            <a:off x="1979190" y="3874032"/>
            <a:ext cx="4118" cy="97417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Arrow Connector 36"/>
          <p:cNvCxnSpPr>
            <a:stCxn id="17" idx="2"/>
            <a:endCxn id="18" idx="0"/>
          </p:cNvCxnSpPr>
          <p:nvPr/>
        </p:nvCxnSpPr>
        <p:spPr>
          <a:xfrm>
            <a:off x="1979190" y="4322761"/>
            <a:ext cx="0" cy="86358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Arrow Connector 38"/>
          <p:cNvCxnSpPr>
            <a:stCxn id="18" idx="2"/>
            <a:endCxn id="48" idx="0"/>
          </p:cNvCxnSpPr>
          <p:nvPr/>
        </p:nvCxnSpPr>
        <p:spPr>
          <a:xfrm flipH="1">
            <a:off x="1617530" y="4763878"/>
            <a:ext cx="361660" cy="226101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Arrow Connector 40"/>
          <p:cNvCxnSpPr>
            <a:stCxn id="18" idx="2"/>
            <a:endCxn id="49" idx="0"/>
          </p:cNvCxnSpPr>
          <p:nvPr/>
        </p:nvCxnSpPr>
        <p:spPr>
          <a:xfrm>
            <a:off x="1979190" y="4763878"/>
            <a:ext cx="468615" cy="229132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9" name="Rectangle 148"/>
          <p:cNvSpPr/>
          <p:nvPr/>
        </p:nvSpPr>
        <p:spPr>
          <a:xfrm>
            <a:off x="3386395" y="4897964"/>
            <a:ext cx="1683713" cy="539382"/>
          </a:xfrm>
          <a:prstGeom prst="rect">
            <a:avLst/>
          </a:prstGeom>
          <a:solidFill>
            <a:schemeClr val="accent5"/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 smtClean="0">
              <a:solidFill>
                <a:schemeClr val="tx2"/>
              </a:solidFill>
            </a:endParaRPr>
          </a:p>
        </p:txBody>
      </p:sp>
      <p:sp>
        <p:nvSpPr>
          <p:cNvPr id="150" name="Rectangle 149"/>
          <p:cNvSpPr/>
          <p:nvPr/>
        </p:nvSpPr>
        <p:spPr>
          <a:xfrm>
            <a:off x="3637188" y="2906290"/>
            <a:ext cx="1094907" cy="1901323"/>
          </a:xfrm>
          <a:prstGeom prst="rect">
            <a:avLst/>
          </a:prstGeom>
          <a:solidFill>
            <a:schemeClr val="accent5"/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dirty="0" err="1" smtClean="0">
              <a:solidFill>
                <a:schemeClr val="tx2"/>
              </a:solidFill>
            </a:endParaRPr>
          </a:p>
        </p:txBody>
      </p:sp>
      <p:sp>
        <p:nvSpPr>
          <p:cNvPr id="151" name="Rectangle 150"/>
          <p:cNvSpPr/>
          <p:nvPr/>
        </p:nvSpPr>
        <p:spPr>
          <a:xfrm>
            <a:off x="3766256" y="2444625"/>
            <a:ext cx="833718" cy="342828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>
                <a:solidFill>
                  <a:schemeClr val="tx1"/>
                </a:solidFill>
              </a:rPr>
              <a:t>ODS</a:t>
            </a:r>
          </a:p>
          <a:p>
            <a:pPr algn="ctr"/>
            <a:r>
              <a:rPr lang="en-US" sz="1000" dirty="0" smtClean="0">
                <a:solidFill>
                  <a:schemeClr val="tx1"/>
                </a:solidFill>
              </a:rPr>
              <a:t>Consumer</a:t>
            </a:r>
          </a:p>
        </p:txBody>
      </p:sp>
      <p:sp>
        <p:nvSpPr>
          <p:cNvPr id="152" name="Rectangle 151"/>
          <p:cNvSpPr/>
          <p:nvPr/>
        </p:nvSpPr>
        <p:spPr>
          <a:xfrm>
            <a:off x="3764175" y="3019686"/>
            <a:ext cx="827173" cy="353683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>
                <a:solidFill>
                  <a:schemeClr val="tx1"/>
                </a:solidFill>
              </a:rPr>
              <a:t>DataPower</a:t>
            </a:r>
          </a:p>
          <a:p>
            <a:pPr algn="ctr"/>
            <a:r>
              <a:rPr lang="en-US" sz="1000" dirty="0" smtClean="0">
                <a:solidFill>
                  <a:schemeClr val="tx1"/>
                </a:solidFill>
              </a:rPr>
              <a:t>Gateway</a:t>
            </a:r>
          </a:p>
        </p:txBody>
      </p:sp>
      <p:sp>
        <p:nvSpPr>
          <p:cNvPr id="153" name="Rectangle 152"/>
          <p:cNvSpPr/>
          <p:nvPr/>
        </p:nvSpPr>
        <p:spPr>
          <a:xfrm>
            <a:off x="3765865" y="3500229"/>
            <a:ext cx="825483" cy="353683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>
                <a:solidFill>
                  <a:schemeClr val="tx1"/>
                </a:solidFill>
              </a:rPr>
              <a:t>BPM Servers</a:t>
            </a:r>
          </a:p>
        </p:txBody>
      </p:sp>
      <p:sp>
        <p:nvSpPr>
          <p:cNvPr id="154" name="Rectangle 153"/>
          <p:cNvSpPr/>
          <p:nvPr/>
        </p:nvSpPr>
        <p:spPr>
          <a:xfrm>
            <a:off x="3757629" y="3951329"/>
            <a:ext cx="833719" cy="351312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>
                <a:solidFill>
                  <a:schemeClr val="tx1"/>
                </a:solidFill>
              </a:rPr>
              <a:t>DataPower</a:t>
            </a:r>
          </a:p>
          <a:p>
            <a:pPr algn="ctr"/>
            <a:r>
              <a:rPr lang="en-US" sz="1000" dirty="0" smtClean="0">
                <a:solidFill>
                  <a:schemeClr val="tx1"/>
                </a:solidFill>
              </a:rPr>
              <a:t>DAL</a:t>
            </a:r>
          </a:p>
        </p:txBody>
      </p:sp>
      <p:sp>
        <p:nvSpPr>
          <p:cNvPr id="155" name="Rectangle 154"/>
          <p:cNvSpPr/>
          <p:nvPr/>
        </p:nvSpPr>
        <p:spPr>
          <a:xfrm>
            <a:off x="3757629" y="4388999"/>
            <a:ext cx="833719" cy="354759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>
                <a:solidFill>
                  <a:schemeClr val="tx1"/>
                </a:solidFill>
              </a:rPr>
              <a:t>MQ</a:t>
            </a:r>
          </a:p>
        </p:txBody>
      </p:sp>
      <p:sp>
        <p:nvSpPr>
          <p:cNvPr id="156" name="Rectangle 155"/>
          <p:cNvSpPr/>
          <p:nvPr/>
        </p:nvSpPr>
        <p:spPr>
          <a:xfrm>
            <a:off x="3454833" y="4969859"/>
            <a:ext cx="715992" cy="386984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>
                <a:solidFill>
                  <a:schemeClr val="tx1"/>
                </a:solidFill>
              </a:rPr>
              <a:t>Sys A</a:t>
            </a:r>
          </a:p>
        </p:txBody>
      </p:sp>
      <p:sp>
        <p:nvSpPr>
          <p:cNvPr id="157" name="Rectangle 156"/>
          <p:cNvSpPr/>
          <p:nvPr/>
        </p:nvSpPr>
        <p:spPr>
          <a:xfrm>
            <a:off x="4285108" y="4972890"/>
            <a:ext cx="715992" cy="386984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>
                <a:solidFill>
                  <a:schemeClr val="tx1"/>
                </a:solidFill>
              </a:rPr>
              <a:t>SysB</a:t>
            </a:r>
          </a:p>
        </p:txBody>
      </p:sp>
      <p:cxnSp>
        <p:nvCxnSpPr>
          <p:cNvPr id="158" name="Straight Connector 157"/>
          <p:cNvCxnSpPr/>
          <p:nvPr/>
        </p:nvCxnSpPr>
        <p:spPr>
          <a:xfrm flipH="1">
            <a:off x="3425909" y="4972890"/>
            <a:ext cx="751852" cy="398094"/>
          </a:xfrm>
          <a:prstGeom prst="line">
            <a:avLst/>
          </a:prstGeom>
          <a:ln w="63500">
            <a:solidFill>
              <a:schemeClr val="accent6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9" name="Straight Connector 158"/>
          <p:cNvCxnSpPr/>
          <p:nvPr/>
        </p:nvCxnSpPr>
        <p:spPr>
          <a:xfrm flipH="1" flipV="1">
            <a:off x="3472562" y="4969859"/>
            <a:ext cx="698263" cy="385199"/>
          </a:xfrm>
          <a:prstGeom prst="line">
            <a:avLst/>
          </a:prstGeom>
          <a:ln w="63500">
            <a:solidFill>
              <a:schemeClr val="accent6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0" name="Can 159"/>
          <p:cNvSpPr/>
          <p:nvPr/>
        </p:nvSpPr>
        <p:spPr>
          <a:xfrm>
            <a:off x="3923850" y="5480596"/>
            <a:ext cx="509512" cy="500105"/>
          </a:xfrm>
          <a:prstGeom prst="can">
            <a:avLst/>
          </a:prstGeom>
          <a:ln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800" dirty="0" smtClean="0">
                <a:solidFill>
                  <a:schemeClr val="tx2"/>
                </a:solidFill>
              </a:rPr>
              <a:t>AccumODS</a:t>
            </a:r>
          </a:p>
        </p:txBody>
      </p:sp>
      <p:cxnSp>
        <p:nvCxnSpPr>
          <p:cNvPr id="163" name="Straight Arrow Connector 162"/>
          <p:cNvCxnSpPr>
            <a:stCxn id="151" idx="2"/>
            <a:endCxn id="152" idx="0"/>
          </p:cNvCxnSpPr>
          <p:nvPr/>
        </p:nvCxnSpPr>
        <p:spPr>
          <a:xfrm flipH="1">
            <a:off x="4177762" y="2787453"/>
            <a:ext cx="5353" cy="232233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4" name="Straight Arrow Connector 163"/>
          <p:cNvCxnSpPr>
            <a:stCxn id="152" idx="2"/>
            <a:endCxn id="153" idx="0"/>
          </p:cNvCxnSpPr>
          <p:nvPr/>
        </p:nvCxnSpPr>
        <p:spPr>
          <a:xfrm>
            <a:off x="4177762" y="3373369"/>
            <a:ext cx="845" cy="12686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5" name="Straight Arrow Connector 164"/>
          <p:cNvCxnSpPr>
            <a:stCxn id="153" idx="2"/>
            <a:endCxn id="154" idx="0"/>
          </p:cNvCxnSpPr>
          <p:nvPr/>
        </p:nvCxnSpPr>
        <p:spPr>
          <a:xfrm flipH="1">
            <a:off x="4174489" y="3853912"/>
            <a:ext cx="4118" cy="97417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6" name="Straight Arrow Connector 165"/>
          <p:cNvCxnSpPr>
            <a:stCxn id="154" idx="2"/>
            <a:endCxn id="155" idx="0"/>
          </p:cNvCxnSpPr>
          <p:nvPr/>
        </p:nvCxnSpPr>
        <p:spPr>
          <a:xfrm>
            <a:off x="4174489" y="4302641"/>
            <a:ext cx="0" cy="86358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7" name="Straight Arrow Connector 166"/>
          <p:cNvCxnSpPr>
            <a:stCxn id="155" idx="2"/>
            <a:endCxn id="156" idx="0"/>
          </p:cNvCxnSpPr>
          <p:nvPr/>
        </p:nvCxnSpPr>
        <p:spPr>
          <a:xfrm flipH="1">
            <a:off x="3812829" y="4743758"/>
            <a:ext cx="361660" cy="226101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8" name="Straight Arrow Connector 167"/>
          <p:cNvCxnSpPr>
            <a:stCxn id="155" idx="2"/>
            <a:endCxn id="157" idx="0"/>
          </p:cNvCxnSpPr>
          <p:nvPr/>
        </p:nvCxnSpPr>
        <p:spPr>
          <a:xfrm>
            <a:off x="4174489" y="4743758"/>
            <a:ext cx="468615" cy="229132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9" name="Rectangle 168"/>
          <p:cNvSpPr/>
          <p:nvPr/>
        </p:nvSpPr>
        <p:spPr>
          <a:xfrm>
            <a:off x="5270316" y="4893642"/>
            <a:ext cx="1683713" cy="539382"/>
          </a:xfrm>
          <a:prstGeom prst="rect">
            <a:avLst/>
          </a:prstGeom>
          <a:solidFill>
            <a:schemeClr val="accent5"/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 smtClean="0">
              <a:solidFill>
                <a:schemeClr val="tx2"/>
              </a:solidFill>
            </a:endParaRPr>
          </a:p>
        </p:txBody>
      </p:sp>
      <p:sp>
        <p:nvSpPr>
          <p:cNvPr id="170" name="Rectangle 169"/>
          <p:cNvSpPr/>
          <p:nvPr/>
        </p:nvSpPr>
        <p:spPr>
          <a:xfrm>
            <a:off x="5521109" y="2901968"/>
            <a:ext cx="1094907" cy="1901323"/>
          </a:xfrm>
          <a:prstGeom prst="rect">
            <a:avLst/>
          </a:prstGeom>
          <a:solidFill>
            <a:schemeClr val="accent5"/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dirty="0" err="1" smtClean="0">
              <a:solidFill>
                <a:schemeClr val="tx2"/>
              </a:solidFill>
            </a:endParaRPr>
          </a:p>
        </p:txBody>
      </p:sp>
      <p:sp>
        <p:nvSpPr>
          <p:cNvPr id="171" name="Rectangle 170"/>
          <p:cNvSpPr/>
          <p:nvPr/>
        </p:nvSpPr>
        <p:spPr>
          <a:xfrm>
            <a:off x="5650177" y="2440303"/>
            <a:ext cx="833718" cy="342828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>
                <a:solidFill>
                  <a:schemeClr val="tx1"/>
                </a:solidFill>
              </a:rPr>
              <a:t>ODS</a:t>
            </a:r>
          </a:p>
          <a:p>
            <a:pPr algn="ctr"/>
            <a:r>
              <a:rPr lang="en-US" sz="1000" dirty="0" smtClean="0">
                <a:solidFill>
                  <a:schemeClr val="tx1"/>
                </a:solidFill>
              </a:rPr>
              <a:t>Consumer</a:t>
            </a:r>
          </a:p>
        </p:txBody>
      </p:sp>
      <p:sp>
        <p:nvSpPr>
          <p:cNvPr id="172" name="Rectangle 171"/>
          <p:cNvSpPr/>
          <p:nvPr/>
        </p:nvSpPr>
        <p:spPr>
          <a:xfrm>
            <a:off x="5648096" y="3015364"/>
            <a:ext cx="827173" cy="353683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>
                <a:solidFill>
                  <a:schemeClr val="tx1"/>
                </a:solidFill>
              </a:rPr>
              <a:t>DataPower</a:t>
            </a:r>
          </a:p>
          <a:p>
            <a:pPr algn="ctr"/>
            <a:r>
              <a:rPr lang="en-US" sz="1000" dirty="0" smtClean="0">
                <a:solidFill>
                  <a:schemeClr val="tx1"/>
                </a:solidFill>
              </a:rPr>
              <a:t>Gateway</a:t>
            </a:r>
          </a:p>
        </p:txBody>
      </p:sp>
      <p:sp>
        <p:nvSpPr>
          <p:cNvPr id="173" name="Rectangle 172"/>
          <p:cNvSpPr/>
          <p:nvPr/>
        </p:nvSpPr>
        <p:spPr>
          <a:xfrm>
            <a:off x="5649786" y="3495907"/>
            <a:ext cx="825483" cy="353683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>
                <a:solidFill>
                  <a:schemeClr val="tx1"/>
                </a:solidFill>
              </a:rPr>
              <a:t>BPM Servers</a:t>
            </a:r>
          </a:p>
        </p:txBody>
      </p:sp>
      <p:sp>
        <p:nvSpPr>
          <p:cNvPr id="174" name="Rectangle 173"/>
          <p:cNvSpPr/>
          <p:nvPr/>
        </p:nvSpPr>
        <p:spPr>
          <a:xfrm>
            <a:off x="5641550" y="3947007"/>
            <a:ext cx="833719" cy="351312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>
                <a:solidFill>
                  <a:schemeClr val="tx1"/>
                </a:solidFill>
              </a:rPr>
              <a:t>DataPower</a:t>
            </a:r>
          </a:p>
          <a:p>
            <a:pPr algn="ctr"/>
            <a:r>
              <a:rPr lang="en-US" sz="1000" dirty="0" smtClean="0">
                <a:solidFill>
                  <a:schemeClr val="tx1"/>
                </a:solidFill>
              </a:rPr>
              <a:t>DAL</a:t>
            </a:r>
          </a:p>
        </p:txBody>
      </p:sp>
      <p:sp>
        <p:nvSpPr>
          <p:cNvPr id="175" name="Rectangle 174"/>
          <p:cNvSpPr/>
          <p:nvPr/>
        </p:nvSpPr>
        <p:spPr>
          <a:xfrm>
            <a:off x="5641550" y="4384677"/>
            <a:ext cx="833719" cy="354759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>
                <a:solidFill>
                  <a:schemeClr val="tx1"/>
                </a:solidFill>
              </a:rPr>
              <a:t>MQ</a:t>
            </a:r>
          </a:p>
        </p:txBody>
      </p:sp>
      <p:sp>
        <p:nvSpPr>
          <p:cNvPr id="176" name="Rectangle 175"/>
          <p:cNvSpPr/>
          <p:nvPr/>
        </p:nvSpPr>
        <p:spPr>
          <a:xfrm>
            <a:off x="5338754" y="4965537"/>
            <a:ext cx="715992" cy="386984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>
                <a:solidFill>
                  <a:schemeClr val="tx1"/>
                </a:solidFill>
              </a:rPr>
              <a:t>Sys A</a:t>
            </a:r>
          </a:p>
        </p:txBody>
      </p:sp>
      <p:sp>
        <p:nvSpPr>
          <p:cNvPr id="177" name="Rectangle 176"/>
          <p:cNvSpPr/>
          <p:nvPr/>
        </p:nvSpPr>
        <p:spPr>
          <a:xfrm>
            <a:off x="6169029" y="4968568"/>
            <a:ext cx="715992" cy="386984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>
                <a:solidFill>
                  <a:schemeClr val="tx1"/>
                </a:solidFill>
              </a:rPr>
              <a:t>SysB</a:t>
            </a:r>
          </a:p>
        </p:txBody>
      </p:sp>
      <p:sp>
        <p:nvSpPr>
          <p:cNvPr id="180" name="Can 179"/>
          <p:cNvSpPr/>
          <p:nvPr/>
        </p:nvSpPr>
        <p:spPr>
          <a:xfrm>
            <a:off x="5807771" y="5476274"/>
            <a:ext cx="509512" cy="500105"/>
          </a:xfrm>
          <a:prstGeom prst="can">
            <a:avLst/>
          </a:prstGeom>
          <a:ln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800" dirty="0" smtClean="0">
                <a:solidFill>
                  <a:schemeClr val="tx2"/>
                </a:solidFill>
              </a:rPr>
              <a:t>AccumODS</a:t>
            </a:r>
          </a:p>
        </p:txBody>
      </p:sp>
      <p:cxnSp>
        <p:nvCxnSpPr>
          <p:cNvPr id="181" name="Straight Connector 180"/>
          <p:cNvCxnSpPr/>
          <p:nvPr/>
        </p:nvCxnSpPr>
        <p:spPr>
          <a:xfrm flipH="1">
            <a:off x="6133169" y="4948644"/>
            <a:ext cx="751852" cy="398094"/>
          </a:xfrm>
          <a:prstGeom prst="line">
            <a:avLst/>
          </a:prstGeom>
          <a:ln w="63500">
            <a:solidFill>
              <a:schemeClr val="accent6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2" name="Straight Connector 181"/>
          <p:cNvCxnSpPr/>
          <p:nvPr/>
        </p:nvCxnSpPr>
        <p:spPr>
          <a:xfrm flipH="1" flipV="1">
            <a:off x="6152879" y="4961539"/>
            <a:ext cx="698263" cy="385199"/>
          </a:xfrm>
          <a:prstGeom prst="line">
            <a:avLst/>
          </a:prstGeom>
          <a:ln w="63500">
            <a:solidFill>
              <a:schemeClr val="accent6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3" name="Straight Arrow Connector 182"/>
          <p:cNvCxnSpPr>
            <a:stCxn id="171" idx="2"/>
            <a:endCxn id="172" idx="0"/>
          </p:cNvCxnSpPr>
          <p:nvPr/>
        </p:nvCxnSpPr>
        <p:spPr>
          <a:xfrm flipH="1">
            <a:off x="6061683" y="2783131"/>
            <a:ext cx="5353" cy="232233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4" name="Straight Arrow Connector 183"/>
          <p:cNvCxnSpPr>
            <a:stCxn id="172" idx="2"/>
            <a:endCxn id="173" idx="0"/>
          </p:cNvCxnSpPr>
          <p:nvPr/>
        </p:nvCxnSpPr>
        <p:spPr>
          <a:xfrm>
            <a:off x="6061683" y="3369047"/>
            <a:ext cx="845" cy="12686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5" name="Straight Arrow Connector 184"/>
          <p:cNvCxnSpPr>
            <a:stCxn id="173" idx="2"/>
            <a:endCxn id="174" idx="0"/>
          </p:cNvCxnSpPr>
          <p:nvPr/>
        </p:nvCxnSpPr>
        <p:spPr>
          <a:xfrm flipH="1">
            <a:off x="6058410" y="3849590"/>
            <a:ext cx="4118" cy="97417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6" name="Straight Arrow Connector 185"/>
          <p:cNvCxnSpPr>
            <a:stCxn id="174" idx="2"/>
            <a:endCxn id="175" idx="0"/>
          </p:cNvCxnSpPr>
          <p:nvPr/>
        </p:nvCxnSpPr>
        <p:spPr>
          <a:xfrm>
            <a:off x="6058410" y="4298319"/>
            <a:ext cx="0" cy="86358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7" name="Straight Arrow Connector 186"/>
          <p:cNvCxnSpPr>
            <a:stCxn id="175" idx="2"/>
            <a:endCxn id="176" idx="0"/>
          </p:cNvCxnSpPr>
          <p:nvPr/>
        </p:nvCxnSpPr>
        <p:spPr>
          <a:xfrm flipH="1">
            <a:off x="5696750" y="4739436"/>
            <a:ext cx="361660" cy="226101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8" name="Straight Arrow Connector 187"/>
          <p:cNvCxnSpPr>
            <a:stCxn id="175" idx="2"/>
            <a:endCxn id="177" idx="0"/>
          </p:cNvCxnSpPr>
          <p:nvPr/>
        </p:nvCxnSpPr>
        <p:spPr>
          <a:xfrm>
            <a:off x="6058410" y="4739436"/>
            <a:ext cx="468615" cy="229132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9" name="Rectangle 188"/>
          <p:cNvSpPr/>
          <p:nvPr/>
        </p:nvSpPr>
        <p:spPr>
          <a:xfrm>
            <a:off x="7119046" y="4890602"/>
            <a:ext cx="1683713" cy="539382"/>
          </a:xfrm>
          <a:prstGeom prst="rect">
            <a:avLst/>
          </a:prstGeom>
          <a:solidFill>
            <a:schemeClr val="accent5"/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 smtClean="0">
              <a:solidFill>
                <a:schemeClr val="tx2"/>
              </a:solidFill>
            </a:endParaRPr>
          </a:p>
        </p:txBody>
      </p:sp>
      <p:sp>
        <p:nvSpPr>
          <p:cNvPr id="190" name="Rectangle 189"/>
          <p:cNvSpPr/>
          <p:nvPr/>
        </p:nvSpPr>
        <p:spPr>
          <a:xfrm>
            <a:off x="7369839" y="2898928"/>
            <a:ext cx="1094907" cy="1901323"/>
          </a:xfrm>
          <a:prstGeom prst="rect">
            <a:avLst/>
          </a:prstGeom>
          <a:solidFill>
            <a:schemeClr val="accent5"/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dirty="0" err="1" smtClean="0">
              <a:solidFill>
                <a:schemeClr val="tx2"/>
              </a:solidFill>
            </a:endParaRPr>
          </a:p>
        </p:txBody>
      </p:sp>
      <p:sp>
        <p:nvSpPr>
          <p:cNvPr id="191" name="Rectangle 190"/>
          <p:cNvSpPr/>
          <p:nvPr/>
        </p:nvSpPr>
        <p:spPr>
          <a:xfrm>
            <a:off x="7498907" y="2437263"/>
            <a:ext cx="833718" cy="342828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>
                <a:solidFill>
                  <a:schemeClr val="tx1"/>
                </a:solidFill>
              </a:rPr>
              <a:t>ODS</a:t>
            </a:r>
          </a:p>
          <a:p>
            <a:pPr algn="ctr"/>
            <a:r>
              <a:rPr lang="en-US" sz="1000" dirty="0" smtClean="0">
                <a:solidFill>
                  <a:schemeClr val="tx1"/>
                </a:solidFill>
              </a:rPr>
              <a:t>Consumer</a:t>
            </a:r>
          </a:p>
        </p:txBody>
      </p:sp>
      <p:sp>
        <p:nvSpPr>
          <p:cNvPr id="192" name="Rectangle 191"/>
          <p:cNvSpPr/>
          <p:nvPr/>
        </p:nvSpPr>
        <p:spPr>
          <a:xfrm>
            <a:off x="7496826" y="3012324"/>
            <a:ext cx="827173" cy="353683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>
                <a:solidFill>
                  <a:schemeClr val="tx1"/>
                </a:solidFill>
              </a:rPr>
              <a:t>DataPower</a:t>
            </a:r>
          </a:p>
          <a:p>
            <a:pPr algn="ctr"/>
            <a:r>
              <a:rPr lang="en-US" sz="1000" dirty="0" smtClean="0">
                <a:solidFill>
                  <a:schemeClr val="tx1"/>
                </a:solidFill>
              </a:rPr>
              <a:t>Gateway</a:t>
            </a:r>
          </a:p>
        </p:txBody>
      </p:sp>
      <p:sp>
        <p:nvSpPr>
          <p:cNvPr id="193" name="Rectangle 192"/>
          <p:cNvSpPr/>
          <p:nvPr/>
        </p:nvSpPr>
        <p:spPr>
          <a:xfrm>
            <a:off x="7498516" y="3492867"/>
            <a:ext cx="825483" cy="353683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>
                <a:solidFill>
                  <a:schemeClr val="tx1"/>
                </a:solidFill>
              </a:rPr>
              <a:t>BPM Servers</a:t>
            </a:r>
          </a:p>
        </p:txBody>
      </p:sp>
      <p:sp>
        <p:nvSpPr>
          <p:cNvPr id="194" name="Rectangle 193"/>
          <p:cNvSpPr/>
          <p:nvPr/>
        </p:nvSpPr>
        <p:spPr>
          <a:xfrm>
            <a:off x="7490280" y="3943967"/>
            <a:ext cx="833719" cy="351312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>
                <a:solidFill>
                  <a:schemeClr val="tx1"/>
                </a:solidFill>
              </a:rPr>
              <a:t>DataPower</a:t>
            </a:r>
          </a:p>
          <a:p>
            <a:pPr algn="ctr"/>
            <a:r>
              <a:rPr lang="en-US" sz="1000" dirty="0" smtClean="0">
                <a:solidFill>
                  <a:schemeClr val="tx1"/>
                </a:solidFill>
              </a:rPr>
              <a:t>DAL</a:t>
            </a:r>
          </a:p>
        </p:txBody>
      </p:sp>
      <p:sp>
        <p:nvSpPr>
          <p:cNvPr id="195" name="Rectangle 194"/>
          <p:cNvSpPr/>
          <p:nvPr/>
        </p:nvSpPr>
        <p:spPr>
          <a:xfrm>
            <a:off x="7490280" y="4381637"/>
            <a:ext cx="833719" cy="354759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>
                <a:solidFill>
                  <a:schemeClr val="tx1"/>
                </a:solidFill>
              </a:rPr>
              <a:t>MQ</a:t>
            </a:r>
          </a:p>
        </p:txBody>
      </p:sp>
      <p:sp>
        <p:nvSpPr>
          <p:cNvPr id="196" name="Rectangle 195"/>
          <p:cNvSpPr/>
          <p:nvPr/>
        </p:nvSpPr>
        <p:spPr>
          <a:xfrm>
            <a:off x="7187484" y="4962497"/>
            <a:ext cx="715992" cy="386984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>
                <a:solidFill>
                  <a:schemeClr val="tx1"/>
                </a:solidFill>
              </a:rPr>
              <a:t>Sys A</a:t>
            </a:r>
          </a:p>
        </p:txBody>
      </p:sp>
      <p:sp>
        <p:nvSpPr>
          <p:cNvPr id="197" name="Rectangle 196"/>
          <p:cNvSpPr/>
          <p:nvPr/>
        </p:nvSpPr>
        <p:spPr>
          <a:xfrm>
            <a:off x="8017759" y="4965528"/>
            <a:ext cx="715992" cy="386984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>
                <a:solidFill>
                  <a:schemeClr val="tx1"/>
                </a:solidFill>
              </a:rPr>
              <a:t>SysB</a:t>
            </a:r>
          </a:p>
        </p:txBody>
      </p:sp>
      <p:sp>
        <p:nvSpPr>
          <p:cNvPr id="200" name="Can 199"/>
          <p:cNvSpPr/>
          <p:nvPr/>
        </p:nvSpPr>
        <p:spPr>
          <a:xfrm>
            <a:off x="7656501" y="5473234"/>
            <a:ext cx="509512" cy="500105"/>
          </a:xfrm>
          <a:prstGeom prst="can">
            <a:avLst/>
          </a:prstGeom>
          <a:ln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800" dirty="0" smtClean="0">
                <a:solidFill>
                  <a:schemeClr val="tx2"/>
                </a:solidFill>
              </a:rPr>
              <a:t>AccumODS</a:t>
            </a:r>
          </a:p>
        </p:txBody>
      </p:sp>
      <p:cxnSp>
        <p:nvCxnSpPr>
          <p:cNvPr id="203" name="Straight Arrow Connector 202"/>
          <p:cNvCxnSpPr>
            <a:stCxn id="191" idx="2"/>
            <a:endCxn id="192" idx="0"/>
          </p:cNvCxnSpPr>
          <p:nvPr/>
        </p:nvCxnSpPr>
        <p:spPr>
          <a:xfrm flipH="1">
            <a:off x="7910413" y="2780091"/>
            <a:ext cx="5353" cy="232233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4" name="Straight Arrow Connector 203"/>
          <p:cNvCxnSpPr>
            <a:stCxn id="192" idx="2"/>
            <a:endCxn id="193" idx="0"/>
          </p:cNvCxnSpPr>
          <p:nvPr/>
        </p:nvCxnSpPr>
        <p:spPr>
          <a:xfrm>
            <a:off x="7910413" y="3366007"/>
            <a:ext cx="845" cy="12686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5" name="Straight Arrow Connector 204"/>
          <p:cNvCxnSpPr>
            <a:stCxn id="193" idx="2"/>
            <a:endCxn id="194" idx="0"/>
          </p:cNvCxnSpPr>
          <p:nvPr/>
        </p:nvCxnSpPr>
        <p:spPr>
          <a:xfrm flipH="1">
            <a:off x="7907140" y="3846550"/>
            <a:ext cx="4118" cy="97417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6" name="Straight Arrow Connector 205"/>
          <p:cNvCxnSpPr>
            <a:stCxn id="194" idx="2"/>
            <a:endCxn id="195" idx="0"/>
          </p:cNvCxnSpPr>
          <p:nvPr/>
        </p:nvCxnSpPr>
        <p:spPr>
          <a:xfrm>
            <a:off x="7907140" y="4295279"/>
            <a:ext cx="0" cy="86358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7" name="Straight Arrow Connector 206"/>
          <p:cNvCxnSpPr>
            <a:stCxn id="195" idx="2"/>
            <a:endCxn id="196" idx="0"/>
          </p:cNvCxnSpPr>
          <p:nvPr/>
        </p:nvCxnSpPr>
        <p:spPr>
          <a:xfrm flipH="1">
            <a:off x="7545480" y="4736396"/>
            <a:ext cx="361660" cy="226101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8" name="Straight Arrow Connector 207"/>
          <p:cNvCxnSpPr>
            <a:stCxn id="195" idx="2"/>
            <a:endCxn id="197" idx="0"/>
          </p:cNvCxnSpPr>
          <p:nvPr/>
        </p:nvCxnSpPr>
        <p:spPr>
          <a:xfrm>
            <a:off x="7907140" y="4736396"/>
            <a:ext cx="468615" cy="229132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9" name="TextBox 208"/>
          <p:cNvSpPr txBox="1"/>
          <p:nvPr/>
        </p:nvSpPr>
        <p:spPr>
          <a:xfrm>
            <a:off x="3881327" y="2110318"/>
            <a:ext cx="57899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 smtClean="0"/>
              <a:t>1st</a:t>
            </a:r>
            <a:endParaRPr lang="en-US" sz="1400" dirty="0" smtClean="0"/>
          </a:p>
        </p:txBody>
      </p:sp>
      <p:sp>
        <p:nvSpPr>
          <p:cNvPr id="210" name="TextBox 209"/>
          <p:cNvSpPr txBox="1"/>
          <p:nvPr/>
        </p:nvSpPr>
        <p:spPr>
          <a:xfrm>
            <a:off x="7619701" y="2110318"/>
            <a:ext cx="57899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 smtClean="0"/>
              <a:t>3</a:t>
            </a:r>
            <a:r>
              <a:rPr lang="en-US" sz="1600" dirty="0"/>
              <a:t>r</a:t>
            </a:r>
            <a:r>
              <a:rPr lang="en-US" sz="1600" dirty="0" smtClean="0"/>
              <a:t>d</a:t>
            </a:r>
            <a:endParaRPr lang="en-US" sz="1400" dirty="0" smtClean="0"/>
          </a:p>
        </p:txBody>
      </p:sp>
      <p:sp>
        <p:nvSpPr>
          <p:cNvPr id="211" name="TextBox 210"/>
          <p:cNvSpPr txBox="1"/>
          <p:nvPr/>
        </p:nvSpPr>
        <p:spPr>
          <a:xfrm>
            <a:off x="5793448" y="2105150"/>
            <a:ext cx="57899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 smtClean="0"/>
              <a:t>2nd</a:t>
            </a:r>
            <a:endParaRPr lang="en-US" sz="1400" dirty="0" smtClean="0"/>
          </a:p>
        </p:txBody>
      </p:sp>
      <p:cxnSp>
        <p:nvCxnSpPr>
          <p:cNvPr id="6" name="Straight Arrow Connector 5"/>
          <p:cNvCxnSpPr>
            <a:endCxn id="160" idx="2"/>
          </p:cNvCxnSpPr>
          <p:nvPr/>
        </p:nvCxnSpPr>
        <p:spPr>
          <a:xfrm>
            <a:off x="3812829" y="5359874"/>
            <a:ext cx="111021" cy="370775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Arrow Connector 7"/>
          <p:cNvCxnSpPr>
            <a:endCxn id="160" idx="4"/>
          </p:cNvCxnSpPr>
          <p:nvPr/>
        </p:nvCxnSpPr>
        <p:spPr>
          <a:xfrm flipH="1">
            <a:off x="4433362" y="5391104"/>
            <a:ext cx="209742" cy="339545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Arrow Connector 9"/>
          <p:cNvCxnSpPr>
            <a:stCxn id="48" idx="2"/>
            <a:endCxn id="73" idx="2"/>
          </p:cNvCxnSpPr>
          <p:nvPr/>
        </p:nvCxnSpPr>
        <p:spPr>
          <a:xfrm>
            <a:off x="1617530" y="5376963"/>
            <a:ext cx="111021" cy="373806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>
            <a:stCxn id="49" idx="2"/>
            <a:endCxn id="73" idx="4"/>
          </p:cNvCxnSpPr>
          <p:nvPr/>
        </p:nvCxnSpPr>
        <p:spPr>
          <a:xfrm flipH="1">
            <a:off x="2238063" y="5379994"/>
            <a:ext cx="209742" cy="370775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176" idx="2"/>
            <a:endCxn id="180" idx="2"/>
          </p:cNvCxnSpPr>
          <p:nvPr/>
        </p:nvCxnSpPr>
        <p:spPr>
          <a:xfrm>
            <a:off x="5696750" y="5352521"/>
            <a:ext cx="111021" cy="373806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Arrow Connector 21"/>
          <p:cNvCxnSpPr>
            <a:endCxn id="180" idx="4"/>
          </p:cNvCxnSpPr>
          <p:nvPr/>
        </p:nvCxnSpPr>
        <p:spPr>
          <a:xfrm flipH="1">
            <a:off x="6317283" y="5352521"/>
            <a:ext cx="209742" cy="373806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Arrow Connector 23"/>
          <p:cNvCxnSpPr>
            <a:endCxn id="200" idx="2"/>
          </p:cNvCxnSpPr>
          <p:nvPr/>
        </p:nvCxnSpPr>
        <p:spPr>
          <a:xfrm>
            <a:off x="7545480" y="5352521"/>
            <a:ext cx="111021" cy="370766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Arrow Connector 25"/>
          <p:cNvCxnSpPr>
            <a:endCxn id="200" idx="4"/>
          </p:cNvCxnSpPr>
          <p:nvPr/>
        </p:nvCxnSpPr>
        <p:spPr>
          <a:xfrm flipH="1">
            <a:off x="8166013" y="5352521"/>
            <a:ext cx="209742" cy="370766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297965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280160"/>
            <a:ext cx="6751122" cy="1499616"/>
          </a:xfrm>
        </p:spPr>
        <p:txBody>
          <a:bodyPr/>
          <a:lstStyle/>
          <a:p>
            <a:r>
              <a:rPr lang="en-US" dirty="0" err="1" smtClean="0"/>
              <a:t>Microservices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OMPANY CONFIDENTIAL  |  FOR INTERNAL USE ONLY  |  DO NOT COPY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2DCB2D-F3A1-47AC-A248-15826C4C808C}" type="slidenum">
              <a:rPr lang="en-US" smtClean="0"/>
              <a:pPr/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06255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Microservices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OMPANY CONFIDENTIAL  |  FOR INTERNAL USE ONLY  |  DO NOT COPY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2DCB2D-F3A1-47AC-A248-15826C4C808C}" type="slidenum">
              <a:rPr lang="en-US" smtClean="0"/>
              <a:pPr/>
              <a:t>19</a:t>
            </a:fld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647700" y="1302709"/>
            <a:ext cx="7943850" cy="29700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700" u="sng" dirty="0" smtClean="0"/>
              <a:t>Goals of </a:t>
            </a:r>
            <a:r>
              <a:rPr lang="en-US" sz="1700" u="sng" dirty="0" err="1" smtClean="0"/>
              <a:t>Microservices</a:t>
            </a:r>
            <a:endParaRPr lang="en-US" sz="1700" dirty="0"/>
          </a:p>
          <a:p>
            <a:pPr marL="285750" indent="-285750" fontAlgn="ctr">
              <a:buFont typeface="Arial" panose="020B0604020202020204" pitchFamily="34" charset="0"/>
              <a:buChar char="•"/>
            </a:pPr>
            <a:r>
              <a:rPr lang="en-US" sz="1700" dirty="0" smtClean="0"/>
              <a:t>Autonomy</a:t>
            </a:r>
          </a:p>
          <a:p>
            <a:pPr marL="285750" indent="-285750" fontAlgn="ctr">
              <a:buFont typeface="Arial" panose="020B0604020202020204" pitchFamily="34" charset="0"/>
              <a:buChar char="•"/>
            </a:pPr>
            <a:r>
              <a:rPr lang="en-US" sz="1700" dirty="0" smtClean="0"/>
              <a:t>Speed of implementation</a:t>
            </a:r>
          </a:p>
          <a:p>
            <a:pPr marL="285750" indent="-285750" fontAlgn="ctr">
              <a:buFont typeface="Arial" panose="020B0604020202020204" pitchFamily="34" charset="0"/>
              <a:buChar char="•"/>
            </a:pPr>
            <a:r>
              <a:rPr lang="en-US" sz="1700" dirty="0" smtClean="0"/>
              <a:t>Opening up seams for other applications to build upon</a:t>
            </a:r>
          </a:p>
          <a:p>
            <a:pPr lvl="1" fontAlgn="ctr"/>
            <a:endParaRPr lang="en-US" sz="1700" dirty="0" smtClean="0"/>
          </a:p>
          <a:p>
            <a:pPr algn="just" fontAlgn="ctr"/>
            <a:r>
              <a:rPr lang="en-US" sz="1700" u="sng" dirty="0" smtClean="0"/>
              <a:t>Guiding Principles</a:t>
            </a:r>
            <a:endParaRPr lang="en-US" sz="1700" u="sng" dirty="0" smtClean="0"/>
          </a:p>
          <a:p>
            <a:pPr marL="285750" indent="-285750" fontAlgn="ctr">
              <a:buFont typeface="Arial" panose="020B0604020202020204" pitchFamily="34" charset="0"/>
              <a:buChar char="•"/>
            </a:pPr>
            <a:r>
              <a:rPr lang="en-US" sz="1700" dirty="0" smtClean="0"/>
              <a:t>Services should be independent and decoupled</a:t>
            </a:r>
          </a:p>
          <a:p>
            <a:pPr marL="285750" indent="-285750" fontAlgn="ctr">
              <a:buFont typeface="Arial" panose="020B0604020202020204" pitchFamily="34" charset="0"/>
              <a:buChar char="•"/>
            </a:pPr>
            <a:r>
              <a:rPr lang="en-US" sz="1700" dirty="0" smtClean="0"/>
              <a:t>Cohesive </a:t>
            </a:r>
          </a:p>
          <a:p>
            <a:pPr marL="742950" lvl="1" indent="-285750" fontAlgn="ctr">
              <a:buFont typeface="Arial" panose="020B0604020202020204" pitchFamily="34" charset="0"/>
              <a:buChar char="•"/>
            </a:pPr>
            <a:r>
              <a:rPr lang="en-US" sz="1700" dirty="0" smtClean="0"/>
              <a:t>Group things that change for the same reason</a:t>
            </a:r>
          </a:p>
          <a:p>
            <a:pPr marL="742950" lvl="1" indent="-285750" fontAlgn="ctr">
              <a:buFont typeface="Arial" panose="020B0604020202020204" pitchFamily="34" charset="0"/>
              <a:buChar char="•"/>
            </a:pPr>
            <a:r>
              <a:rPr lang="en-US" sz="1700" dirty="0" smtClean="0"/>
              <a:t>Separate things that change for different reasons</a:t>
            </a:r>
          </a:p>
          <a:p>
            <a:pPr marL="742950" lvl="1" indent="-285750" fontAlgn="ctr">
              <a:buFont typeface="Arial" panose="020B0604020202020204" pitchFamily="34" charset="0"/>
              <a:buChar char="•"/>
            </a:pPr>
            <a:endParaRPr lang="en-US" sz="1700" dirty="0"/>
          </a:p>
        </p:txBody>
      </p:sp>
    </p:spTree>
    <p:extLst>
      <p:ext uri="{BB962C8B-B14F-4D97-AF65-F5344CB8AC3E}">
        <p14:creationId xmlns:p14="http://schemas.microsoft.com/office/powerpoint/2010/main" val="32929025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opic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000" dirty="0" smtClean="0"/>
              <a:t>Guiding Principles</a:t>
            </a:r>
          </a:p>
          <a:p>
            <a:r>
              <a:rPr lang="en-US" sz="2000" dirty="0" smtClean="0"/>
              <a:t>Challenges and Impacts</a:t>
            </a:r>
          </a:p>
          <a:p>
            <a:r>
              <a:rPr lang="en-US" sz="2000" dirty="0" smtClean="0"/>
              <a:t>Improvements</a:t>
            </a:r>
          </a:p>
          <a:p>
            <a:r>
              <a:rPr lang="en-US" sz="2000" dirty="0" smtClean="0"/>
              <a:t>Roadmap Summary</a:t>
            </a:r>
            <a:endParaRPr lang="en-US" sz="2000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OMPANY CONFIDENTIAL  |  FOR INTERNAL USE ONLY  |  DO NOT COPY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2DCB2D-F3A1-47AC-A248-15826C4C808C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79479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Improvement </a:t>
            </a:r>
            <a:r>
              <a:rPr lang="en-US" sz="2400" dirty="0" smtClean="0"/>
              <a:t>#4: Eliminate shared components between ODS and WGS</a:t>
            </a:r>
            <a:endParaRPr lang="en-US" sz="2400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OMPANY CONFIDENTIAL  |  FOR INTERNAL USE ONLY  |  DO NOT COPY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2DCB2D-F3A1-47AC-A248-15826C4C808C}" type="slidenum">
              <a:rPr lang="en-US" smtClean="0"/>
              <a:pPr/>
              <a:t>20</a:t>
            </a:fld>
            <a:endParaRPr lang="en-US" dirty="0"/>
          </a:p>
        </p:txBody>
      </p:sp>
      <p:grpSp>
        <p:nvGrpSpPr>
          <p:cNvPr id="24" name="Group 23"/>
          <p:cNvGrpSpPr/>
          <p:nvPr/>
        </p:nvGrpSpPr>
        <p:grpSpPr>
          <a:xfrm>
            <a:off x="2523771" y="2528760"/>
            <a:ext cx="1175065" cy="560728"/>
            <a:chOff x="2336015" y="2367484"/>
            <a:chExt cx="1175065" cy="716803"/>
          </a:xfrm>
        </p:grpSpPr>
        <p:sp>
          <p:nvSpPr>
            <p:cNvPr id="6" name="Rectangle 5"/>
            <p:cNvSpPr/>
            <p:nvPr/>
          </p:nvSpPr>
          <p:spPr>
            <a:xfrm>
              <a:off x="2336015" y="2367484"/>
              <a:ext cx="1175065" cy="716803"/>
            </a:xfrm>
            <a:prstGeom prst="rect">
              <a:avLst/>
            </a:prstGeom>
            <a:solidFill>
              <a:schemeClr val="accent5"/>
            </a:solidFill>
            <a:ln w="127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 dirty="0" err="1" smtClean="0">
                <a:solidFill>
                  <a:schemeClr val="tx2"/>
                </a:solidFill>
              </a:endParaRPr>
            </a:p>
          </p:txBody>
        </p:sp>
        <p:sp>
          <p:nvSpPr>
            <p:cNvPr id="7" name="Rectangle 6"/>
            <p:cNvSpPr/>
            <p:nvPr/>
          </p:nvSpPr>
          <p:spPr>
            <a:xfrm>
              <a:off x="2698768" y="2548505"/>
              <a:ext cx="412545" cy="354759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 dirty="0" smtClean="0">
                <a:solidFill>
                  <a:schemeClr val="tx1"/>
                </a:solidFill>
              </a:endParaRPr>
            </a:p>
          </p:txBody>
        </p:sp>
      </p:grpSp>
      <p:grpSp>
        <p:nvGrpSpPr>
          <p:cNvPr id="9" name="Group 8"/>
          <p:cNvGrpSpPr/>
          <p:nvPr/>
        </p:nvGrpSpPr>
        <p:grpSpPr>
          <a:xfrm>
            <a:off x="2523603" y="3269155"/>
            <a:ext cx="1191146" cy="578901"/>
            <a:chOff x="4217438" y="1300892"/>
            <a:chExt cx="1428750" cy="854599"/>
          </a:xfrm>
        </p:grpSpPr>
        <p:sp>
          <p:nvSpPr>
            <p:cNvPr id="10" name="Rectangle 9"/>
            <p:cNvSpPr/>
            <p:nvPr/>
          </p:nvSpPr>
          <p:spPr>
            <a:xfrm>
              <a:off x="4217438" y="1300892"/>
              <a:ext cx="1428750" cy="825858"/>
            </a:xfrm>
            <a:prstGeom prst="rect">
              <a:avLst/>
            </a:prstGeom>
            <a:solidFill>
              <a:schemeClr val="accent5"/>
            </a:solidFill>
            <a:ln w="127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 dirty="0" err="1" smtClean="0">
                <a:solidFill>
                  <a:schemeClr val="tx2"/>
                </a:solidFill>
              </a:endParaRPr>
            </a:p>
          </p:txBody>
        </p:sp>
        <p:sp>
          <p:nvSpPr>
            <p:cNvPr id="11" name="Rectangle 10"/>
            <p:cNvSpPr/>
            <p:nvPr/>
          </p:nvSpPr>
          <p:spPr>
            <a:xfrm>
              <a:off x="4643057" y="1518684"/>
              <a:ext cx="501609" cy="354759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2" name="TextBox 11"/>
            <p:cNvSpPr txBox="1"/>
            <p:nvPr/>
          </p:nvSpPr>
          <p:spPr>
            <a:xfrm>
              <a:off x="4827607" y="1792009"/>
              <a:ext cx="816789" cy="3634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 dirty="0" err="1" smtClean="0"/>
                <a:t>Int</a:t>
              </a:r>
              <a:r>
                <a:rPr lang="en-US" sz="1000" dirty="0" smtClean="0"/>
                <a:t> Layer</a:t>
              </a:r>
              <a:endParaRPr lang="en-US" sz="1000" dirty="0"/>
            </a:p>
          </p:txBody>
        </p:sp>
      </p:grpSp>
      <p:sp>
        <p:nvSpPr>
          <p:cNvPr id="14" name="Rectangle 13"/>
          <p:cNvSpPr/>
          <p:nvPr/>
        </p:nvSpPr>
        <p:spPr>
          <a:xfrm>
            <a:off x="914400" y="3998060"/>
            <a:ext cx="2800349" cy="1054376"/>
          </a:xfrm>
          <a:prstGeom prst="rect">
            <a:avLst/>
          </a:prstGeom>
          <a:solidFill>
            <a:schemeClr val="accent5"/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 smtClean="0">
              <a:solidFill>
                <a:schemeClr val="tx2"/>
              </a:solidFill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1957762" y="4834791"/>
            <a:ext cx="97117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dirty="0" smtClean="0"/>
              <a:t>CA Mainframe</a:t>
            </a:r>
            <a:endParaRPr lang="en-US" sz="1000" dirty="0"/>
          </a:p>
        </p:txBody>
      </p:sp>
      <p:sp>
        <p:nvSpPr>
          <p:cNvPr id="21" name="Rectangle 20"/>
          <p:cNvSpPr/>
          <p:nvPr/>
        </p:nvSpPr>
        <p:spPr>
          <a:xfrm>
            <a:off x="1078846" y="4156874"/>
            <a:ext cx="1444757" cy="675602"/>
          </a:xfrm>
          <a:prstGeom prst="rect">
            <a:avLst/>
          </a:prstGeom>
          <a:solidFill>
            <a:schemeClr val="accent1">
              <a:lumMod val="20000"/>
              <a:lumOff val="80000"/>
              <a:alpha val="50000"/>
            </a:schemeClr>
          </a:solidFill>
          <a:ln w="12700">
            <a:solidFill>
              <a:schemeClr val="accent1">
                <a:shade val="95000"/>
                <a:satMod val="10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000" dirty="0" smtClean="0">
                <a:solidFill>
                  <a:schemeClr val="tx1"/>
                </a:solidFill>
              </a:rPr>
              <a:t>WGS Claims</a:t>
            </a:r>
          </a:p>
          <a:p>
            <a:r>
              <a:rPr lang="en-US" sz="1000" dirty="0" smtClean="0">
                <a:solidFill>
                  <a:schemeClr val="tx1"/>
                </a:solidFill>
              </a:rPr>
              <a:t>Programs</a:t>
            </a:r>
          </a:p>
        </p:txBody>
      </p:sp>
      <p:sp>
        <p:nvSpPr>
          <p:cNvPr id="16" name="Rectangle 15"/>
          <p:cNvSpPr/>
          <p:nvPr/>
        </p:nvSpPr>
        <p:spPr>
          <a:xfrm>
            <a:off x="2285999" y="4156874"/>
            <a:ext cx="1207103" cy="677917"/>
          </a:xfrm>
          <a:prstGeom prst="rect">
            <a:avLst/>
          </a:prstGeom>
          <a:solidFill>
            <a:schemeClr val="accent1">
              <a:lumMod val="40000"/>
              <a:lumOff val="60000"/>
              <a:alpha val="76000"/>
            </a:schemeClr>
          </a:solidFill>
          <a:ln w="12700">
            <a:solidFill>
              <a:schemeClr val="accent1">
                <a:shade val="95000"/>
                <a:satMod val="10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sz="1000" dirty="0" smtClean="0">
                <a:solidFill>
                  <a:schemeClr val="tx1"/>
                </a:solidFill>
              </a:rPr>
              <a:t>Accum ODS Programs</a:t>
            </a:r>
          </a:p>
        </p:txBody>
      </p:sp>
      <p:sp>
        <p:nvSpPr>
          <p:cNvPr id="23" name="Can 22"/>
          <p:cNvSpPr/>
          <p:nvPr/>
        </p:nvSpPr>
        <p:spPr>
          <a:xfrm>
            <a:off x="2789557" y="5166822"/>
            <a:ext cx="509512" cy="603251"/>
          </a:xfrm>
          <a:prstGeom prst="can">
            <a:avLst/>
          </a:prstGeom>
          <a:ln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800" dirty="0" smtClean="0">
                <a:solidFill>
                  <a:schemeClr val="tx2"/>
                </a:solidFill>
              </a:rPr>
              <a:t>AccumODS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551783" y="1313760"/>
            <a:ext cx="3750908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 smtClean="0"/>
              <a:t>Curr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/>
              <a:t>Shared </a:t>
            </a:r>
            <a:r>
              <a:rPr lang="en-US" sz="1400" dirty="0"/>
              <a:t>programs, data sets, etc. between </a:t>
            </a:r>
            <a:r>
              <a:rPr lang="en-US" sz="1400" dirty="0" smtClean="0"/>
              <a:t>Accum ODS and WG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/>
              <a:t>Makes Accum ODS dependent on WGS and less autonomous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4805710" y="1313759"/>
            <a:ext cx="3919319" cy="9848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 smtClean="0"/>
              <a:t>Futur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/>
              <a:t>Shared programs, data sets, etc. between Accum ODS and WGS eliminate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/>
              <a:t>Accum ODS decoupled from WGS code</a:t>
            </a:r>
            <a:endParaRPr lang="en-US" sz="1400" dirty="0"/>
          </a:p>
        </p:txBody>
      </p:sp>
      <p:cxnSp>
        <p:nvCxnSpPr>
          <p:cNvPr id="28" name="Straight Arrow Connector 27"/>
          <p:cNvCxnSpPr>
            <a:stCxn id="7" idx="2"/>
            <a:endCxn id="11" idx="0"/>
          </p:cNvCxnSpPr>
          <p:nvPr/>
        </p:nvCxnSpPr>
        <p:spPr>
          <a:xfrm flipH="1">
            <a:off x="3087536" y="2947880"/>
            <a:ext cx="5261" cy="468806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Arrow Connector 29"/>
          <p:cNvCxnSpPr>
            <a:stCxn id="11" idx="2"/>
          </p:cNvCxnSpPr>
          <p:nvPr/>
        </p:nvCxnSpPr>
        <p:spPr>
          <a:xfrm>
            <a:off x="3087536" y="3656998"/>
            <a:ext cx="0" cy="528451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endCxn id="23" idx="1"/>
          </p:cNvCxnSpPr>
          <p:nvPr/>
        </p:nvCxnSpPr>
        <p:spPr>
          <a:xfrm>
            <a:off x="3044313" y="4815828"/>
            <a:ext cx="0" cy="350994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TextBox 59"/>
          <p:cNvSpPr txBox="1"/>
          <p:nvPr/>
        </p:nvSpPr>
        <p:spPr>
          <a:xfrm>
            <a:off x="1255254" y="3136434"/>
            <a:ext cx="1030745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dirty="0" smtClean="0"/>
              <a:t>Shared programs, datasets, etc.</a:t>
            </a:r>
            <a:endParaRPr lang="en-US" sz="1000" dirty="0"/>
          </a:p>
        </p:txBody>
      </p:sp>
      <p:cxnSp>
        <p:nvCxnSpPr>
          <p:cNvPr id="62" name="Straight Arrow Connector 61"/>
          <p:cNvCxnSpPr/>
          <p:nvPr/>
        </p:nvCxnSpPr>
        <p:spPr>
          <a:xfrm>
            <a:off x="2075290" y="3625264"/>
            <a:ext cx="368059" cy="687399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9" name="Group 68"/>
          <p:cNvGrpSpPr/>
          <p:nvPr/>
        </p:nvGrpSpPr>
        <p:grpSpPr>
          <a:xfrm>
            <a:off x="6990996" y="2528760"/>
            <a:ext cx="1278439" cy="627883"/>
            <a:chOff x="2336015" y="2367484"/>
            <a:chExt cx="1278439" cy="802650"/>
          </a:xfrm>
        </p:grpSpPr>
        <p:sp>
          <p:nvSpPr>
            <p:cNvPr id="70" name="Rectangle 69"/>
            <p:cNvSpPr/>
            <p:nvPr/>
          </p:nvSpPr>
          <p:spPr>
            <a:xfrm>
              <a:off x="2336015" y="2367484"/>
              <a:ext cx="1175065" cy="716803"/>
            </a:xfrm>
            <a:prstGeom prst="rect">
              <a:avLst/>
            </a:prstGeom>
            <a:solidFill>
              <a:schemeClr val="accent5"/>
            </a:solidFill>
            <a:ln w="127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 dirty="0" err="1" smtClean="0">
                <a:solidFill>
                  <a:schemeClr val="tx2"/>
                </a:solidFill>
              </a:endParaRPr>
            </a:p>
          </p:txBody>
        </p:sp>
        <p:sp>
          <p:nvSpPr>
            <p:cNvPr id="71" name="Rectangle 70"/>
            <p:cNvSpPr/>
            <p:nvPr/>
          </p:nvSpPr>
          <p:spPr>
            <a:xfrm>
              <a:off x="2698768" y="2548505"/>
              <a:ext cx="412545" cy="354759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72" name="TextBox 71"/>
            <p:cNvSpPr txBox="1"/>
            <p:nvPr/>
          </p:nvSpPr>
          <p:spPr>
            <a:xfrm>
              <a:off x="2828641" y="2855379"/>
              <a:ext cx="785813" cy="31475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 dirty="0" smtClean="0"/>
                <a:t>Consumer</a:t>
              </a:r>
              <a:endParaRPr lang="en-US" sz="1000" dirty="0"/>
            </a:p>
          </p:txBody>
        </p:sp>
      </p:grpSp>
      <p:grpSp>
        <p:nvGrpSpPr>
          <p:cNvPr id="73" name="Group 72"/>
          <p:cNvGrpSpPr/>
          <p:nvPr/>
        </p:nvGrpSpPr>
        <p:grpSpPr>
          <a:xfrm>
            <a:off x="6990828" y="3269155"/>
            <a:ext cx="1191146" cy="513657"/>
            <a:chOff x="4217438" y="1300892"/>
            <a:chExt cx="1428750" cy="825858"/>
          </a:xfrm>
        </p:grpSpPr>
        <p:sp>
          <p:nvSpPr>
            <p:cNvPr id="74" name="Rectangle 73"/>
            <p:cNvSpPr/>
            <p:nvPr/>
          </p:nvSpPr>
          <p:spPr>
            <a:xfrm>
              <a:off x="4217438" y="1300892"/>
              <a:ext cx="1428750" cy="825858"/>
            </a:xfrm>
            <a:prstGeom prst="rect">
              <a:avLst/>
            </a:prstGeom>
            <a:solidFill>
              <a:schemeClr val="accent5"/>
            </a:solidFill>
            <a:ln w="127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 dirty="0" err="1" smtClean="0">
                <a:solidFill>
                  <a:schemeClr val="tx2"/>
                </a:solidFill>
              </a:endParaRPr>
            </a:p>
          </p:txBody>
        </p:sp>
        <p:sp>
          <p:nvSpPr>
            <p:cNvPr id="75" name="Rectangle 74"/>
            <p:cNvSpPr/>
            <p:nvPr/>
          </p:nvSpPr>
          <p:spPr>
            <a:xfrm>
              <a:off x="4643057" y="1518684"/>
              <a:ext cx="501609" cy="354759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 dirty="0" smtClean="0">
                <a:solidFill>
                  <a:schemeClr val="tx1"/>
                </a:solidFill>
              </a:endParaRPr>
            </a:p>
          </p:txBody>
        </p:sp>
      </p:grpSp>
      <p:sp>
        <p:nvSpPr>
          <p:cNvPr id="77" name="Rectangle 76"/>
          <p:cNvSpPr/>
          <p:nvPr/>
        </p:nvSpPr>
        <p:spPr>
          <a:xfrm>
            <a:off x="5343525" y="3979097"/>
            <a:ext cx="2838449" cy="1054376"/>
          </a:xfrm>
          <a:prstGeom prst="rect">
            <a:avLst/>
          </a:prstGeom>
          <a:solidFill>
            <a:schemeClr val="accent5"/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 smtClean="0">
              <a:solidFill>
                <a:schemeClr val="tx2"/>
              </a:solidFill>
            </a:endParaRPr>
          </a:p>
        </p:txBody>
      </p:sp>
      <p:sp>
        <p:nvSpPr>
          <p:cNvPr id="78" name="TextBox 77"/>
          <p:cNvSpPr txBox="1"/>
          <p:nvPr/>
        </p:nvSpPr>
        <p:spPr>
          <a:xfrm>
            <a:off x="6424987" y="4815828"/>
            <a:ext cx="97117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dirty="0" smtClean="0"/>
              <a:t>CA Mainframe</a:t>
            </a:r>
            <a:endParaRPr lang="en-US" sz="1000" dirty="0"/>
          </a:p>
        </p:txBody>
      </p:sp>
      <p:sp>
        <p:nvSpPr>
          <p:cNvPr id="80" name="Rectangle 79"/>
          <p:cNvSpPr/>
          <p:nvPr/>
        </p:nvSpPr>
        <p:spPr>
          <a:xfrm>
            <a:off x="5546071" y="4137911"/>
            <a:ext cx="1109667" cy="675602"/>
          </a:xfrm>
          <a:prstGeom prst="rect">
            <a:avLst/>
          </a:prstGeom>
          <a:solidFill>
            <a:schemeClr val="accent1">
              <a:lumMod val="20000"/>
              <a:lumOff val="80000"/>
              <a:alpha val="50000"/>
            </a:schemeClr>
          </a:solidFill>
          <a:ln w="12700">
            <a:solidFill>
              <a:schemeClr val="accent1">
                <a:shade val="95000"/>
                <a:satMod val="10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000" dirty="0" smtClean="0">
                <a:solidFill>
                  <a:schemeClr val="tx1"/>
                </a:solidFill>
              </a:rPr>
              <a:t>WGS Claims</a:t>
            </a:r>
          </a:p>
          <a:p>
            <a:r>
              <a:rPr lang="en-US" sz="1000" dirty="0" smtClean="0">
                <a:solidFill>
                  <a:schemeClr val="tx1"/>
                </a:solidFill>
              </a:rPr>
              <a:t>Programs</a:t>
            </a:r>
          </a:p>
        </p:txBody>
      </p:sp>
      <p:sp>
        <p:nvSpPr>
          <p:cNvPr id="82" name="Rectangle 81"/>
          <p:cNvSpPr/>
          <p:nvPr/>
        </p:nvSpPr>
        <p:spPr>
          <a:xfrm>
            <a:off x="6990996" y="4137911"/>
            <a:ext cx="969331" cy="688195"/>
          </a:xfrm>
          <a:prstGeom prst="rect">
            <a:avLst/>
          </a:prstGeom>
          <a:solidFill>
            <a:srgbClr val="FFC000"/>
          </a:solidFill>
          <a:ln w="12700">
            <a:solidFill>
              <a:schemeClr val="accent1">
                <a:shade val="95000"/>
                <a:satMod val="10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>
                <a:solidFill>
                  <a:schemeClr val="tx1"/>
                </a:solidFill>
              </a:rPr>
              <a:t>Accum ODS Programs</a:t>
            </a:r>
          </a:p>
        </p:txBody>
      </p:sp>
      <p:sp>
        <p:nvSpPr>
          <p:cNvPr id="83" name="Can 82"/>
          <p:cNvSpPr/>
          <p:nvPr/>
        </p:nvSpPr>
        <p:spPr>
          <a:xfrm>
            <a:off x="7293663" y="5166824"/>
            <a:ext cx="509512" cy="603251"/>
          </a:xfrm>
          <a:prstGeom prst="can">
            <a:avLst/>
          </a:prstGeom>
          <a:ln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800" dirty="0" smtClean="0">
                <a:solidFill>
                  <a:schemeClr val="tx2"/>
                </a:solidFill>
              </a:rPr>
              <a:t>AccumODS</a:t>
            </a:r>
          </a:p>
        </p:txBody>
      </p:sp>
      <p:cxnSp>
        <p:nvCxnSpPr>
          <p:cNvPr id="84" name="Straight Arrow Connector 83"/>
          <p:cNvCxnSpPr>
            <a:stCxn id="71" idx="2"/>
            <a:endCxn id="75" idx="0"/>
          </p:cNvCxnSpPr>
          <p:nvPr/>
        </p:nvCxnSpPr>
        <p:spPr>
          <a:xfrm flipH="1">
            <a:off x="7554761" y="2947880"/>
            <a:ext cx="5261" cy="456735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Straight Arrow Connector 84"/>
          <p:cNvCxnSpPr>
            <a:stCxn id="75" idx="2"/>
          </p:cNvCxnSpPr>
          <p:nvPr/>
        </p:nvCxnSpPr>
        <p:spPr>
          <a:xfrm>
            <a:off x="7554761" y="3625264"/>
            <a:ext cx="0" cy="512647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Straight Arrow Connector 87"/>
          <p:cNvCxnSpPr>
            <a:endCxn id="83" idx="1"/>
          </p:cNvCxnSpPr>
          <p:nvPr/>
        </p:nvCxnSpPr>
        <p:spPr>
          <a:xfrm>
            <a:off x="7548419" y="4826106"/>
            <a:ext cx="0" cy="340718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TextBox 88"/>
          <p:cNvSpPr txBox="1"/>
          <p:nvPr/>
        </p:nvSpPr>
        <p:spPr>
          <a:xfrm>
            <a:off x="5522550" y="2782491"/>
            <a:ext cx="103074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dirty="0" smtClean="0"/>
              <a:t>Clear separation between WGS Claims and Accum ODS</a:t>
            </a:r>
            <a:endParaRPr lang="en-US" sz="1000" dirty="0"/>
          </a:p>
        </p:txBody>
      </p:sp>
      <p:cxnSp>
        <p:nvCxnSpPr>
          <p:cNvPr id="90" name="Straight Arrow Connector 89"/>
          <p:cNvCxnSpPr/>
          <p:nvPr/>
        </p:nvCxnSpPr>
        <p:spPr>
          <a:xfrm>
            <a:off x="6400902" y="3325592"/>
            <a:ext cx="438048" cy="968108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/>
          <p:cNvCxnSpPr/>
          <p:nvPr/>
        </p:nvCxnSpPr>
        <p:spPr>
          <a:xfrm>
            <a:off x="4504097" y="1626921"/>
            <a:ext cx="0" cy="435378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extBox 43"/>
          <p:cNvSpPr txBox="1"/>
          <p:nvPr/>
        </p:nvSpPr>
        <p:spPr>
          <a:xfrm>
            <a:off x="3009976" y="2903054"/>
            <a:ext cx="78581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dirty="0" smtClean="0"/>
              <a:t>Consumer</a:t>
            </a:r>
            <a:endParaRPr lang="en-US" sz="1000" dirty="0"/>
          </a:p>
        </p:txBody>
      </p:sp>
      <p:sp>
        <p:nvSpPr>
          <p:cNvPr id="46" name="TextBox 45"/>
          <p:cNvSpPr txBox="1"/>
          <p:nvPr/>
        </p:nvSpPr>
        <p:spPr>
          <a:xfrm>
            <a:off x="7501019" y="3573642"/>
            <a:ext cx="68095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dirty="0" err="1" smtClean="0"/>
              <a:t>Int</a:t>
            </a:r>
            <a:r>
              <a:rPr lang="en-US" sz="1000" dirty="0" smtClean="0"/>
              <a:t> Layer</a:t>
            </a:r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27359820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Improvement </a:t>
            </a:r>
            <a:r>
              <a:rPr lang="en-US" sz="2400" dirty="0" smtClean="0"/>
              <a:t>: Implement Accum ODS as a </a:t>
            </a:r>
            <a:r>
              <a:rPr lang="en-US" sz="2400" dirty="0" err="1" smtClean="0"/>
              <a:t>Microservice</a:t>
            </a:r>
            <a:endParaRPr lang="en-US" sz="2400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OMPANY CONFIDENTIAL  |  FOR INTERNAL USE ONLY  |  DO NOT COPY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5785252" y="4733622"/>
            <a:ext cx="381000" cy="138499"/>
          </a:xfrm>
        </p:spPr>
        <p:txBody>
          <a:bodyPr/>
          <a:lstStyle/>
          <a:p>
            <a:fld id="{1A2DCB2D-F3A1-47AC-A248-15826C4C808C}" type="slidenum">
              <a:rPr lang="en-US" smtClean="0"/>
              <a:pPr/>
              <a:t>21</a:t>
            </a:fld>
            <a:endParaRPr lang="en-US" dirty="0"/>
          </a:p>
        </p:txBody>
      </p:sp>
      <p:sp>
        <p:nvSpPr>
          <p:cNvPr id="77" name="Rectangle 76"/>
          <p:cNvSpPr/>
          <p:nvPr/>
        </p:nvSpPr>
        <p:spPr>
          <a:xfrm>
            <a:off x="1420783" y="2172908"/>
            <a:ext cx="6305702" cy="3201916"/>
          </a:xfrm>
          <a:prstGeom prst="rect">
            <a:avLst/>
          </a:prstGeom>
          <a:solidFill>
            <a:schemeClr val="accent5"/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 smtClean="0">
              <a:solidFill>
                <a:schemeClr val="tx2"/>
              </a:solidFill>
            </a:endParaRPr>
          </a:p>
        </p:txBody>
      </p:sp>
      <p:sp>
        <p:nvSpPr>
          <p:cNvPr id="78" name="TextBox 77"/>
          <p:cNvSpPr txBox="1"/>
          <p:nvPr/>
        </p:nvSpPr>
        <p:spPr>
          <a:xfrm>
            <a:off x="1725311" y="5059838"/>
            <a:ext cx="97117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dirty="0" smtClean="0"/>
              <a:t>CA Mainframe</a:t>
            </a:r>
            <a:endParaRPr lang="en-US" sz="1000" dirty="0"/>
          </a:p>
        </p:txBody>
      </p:sp>
      <p:sp>
        <p:nvSpPr>
          <p:cNvPr id="83" name="Can 82"/>
          <p:cNvSpPr/>
          <p:nvPr/>
        </p:nvSpPr>
        <p:spPr>
          <a:xfrm>
            <a:off x="5347544" y="3345275"/>
            <a:ext cx="509512" cy="603251"/>
          </a:xfrm>
          <a:prstGeom prst="can">
            <a:avLst/>
          </a:prstGeom>
          <a:ln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800" dirty="0" smtClean="0">
                <a:solidFill>
                  <a:schemeClr val="tx2"/>
                </a:solidFill>
              </a:rPr>
              <a:t>AccumODS</a:t>
            </a:r>
          </a:p>
        </p:txBody>
      </p:sp>
      <p:cxnSp>
        <p:nvCxnSpPr>
          <p:cNvPr id="88" name="Straight Arrow Connector 87"/>
          <p:cNvCxnSpPr/>
          <p:nvPr/>
        </p:nvCxnSpPr>
        <p:spPr>
          <a:xfrm>
            <a:off x="3858241" y="4009412"/>
            <a:ext cx="0" cy="340718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Rectangle 81"/>
          <p:cNvSpPr/>
          <p:nvPr/>
        </p:nvSpPr>
        <p:spPr>
          <a:xfrm>
            <a:off x="3300817" y="2291839"/>
            <a:ext cx="3606365" cy="2755772"/>
          </a:xfrm>
          <a:prstGeom prst="rect">
            <a:avLst/>
          </a:prstGeom>
          <a:solidFill>
            <a:srgbClr val="FFC000"/>
          </a:solidFill>
          <a:ln w="12700">
            <a:solidFill>
              <a:schemeClr val="accent1">
                <a:shade val="95000"/>
                <a:satMod val="10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 smtClean="0">
              <a:solidFill>
                <a:schemeClr val="tx1"/>
              </a:solidFill>
            </a:endParaRPr>
          </a:p>
        </p:txBody>
      </p:sp>
      <p:sp>
        <p:nvSpPr>
          <p:cNvPr id="47" name="Rectangle 46"/>
          <p:cNvSpPr/>
          <p:nvPr/>
        </p:nvSpPr>
        <p:spPr>
          <a:xfrm>
            <a:off x="3300817" y="2291839"/>
            <a:ext cx="2677061" cy="621030"/>
          </a:xfrm>
          <a:prstGeom prst="rect">
            <a:avLst/>
          </a:prstGeom>
          <a:solidFill>
            <a:srgbClr val="5D9674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 smtClean="0">
              <a:solidFill>
                <a:schemeClr val="tx1"/>
              </a:solidFill>
            </a:endParaRPr>
          </a:p>
        </p:txBody>
      </p:sp>
      <p:sp>
        <p:nvSpPr>
          <p:cNvPr id="48" name="TextBox 47"/>
          <p:cNvSpPr txBox="1"/>
          <p:nvPr/>
        </p:nvSpPr>
        <p:spPr>
          <a:xfrm>
            <a:off x="4008846" y="2687377"/>
            <a:ext cx="140392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 smtClean="0"/>
              <a:t>Real-time Interface</a:t>
            </a:r>
            <a:endParaRPr lang="en-US" sz="1000" dirty="0"/>
          </a:p>
        </p:txBody>
      </p:sp>
      <p:sp>
        <p:nvSpPr>
          <p:cNvPr id="53" name="Rectangle 52"/>
          <p:cNvSpPr/>
          <p:nvPr/>
        </p:nvSpPr>
        <p:spPr>
          <a:xfrm>
            <a:off x="3299295" y="2289802"/>
            <a:ext cx="453205" cy="399930"/>
          </a:xfrm>
          <a:prstGeom prst="rect">
            <a:avLst/>
          </a:prstGeom>
          <a:solidFill>
            <a:srgbClr val="FF0000">
              <a:alpha val="50000"/>
            </a:srgbClr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 smtClean="0">
              <a:solidFill>
                <a:schemeClr val="tx1"/>
              </a:solidFill>
            </a:endParaRPr>
          </a:p>
        </p:txBody>
      </p:sp>
      <p:sp>
        <p:nvSpPr>
          <p:cNvPr id="57" name="Rectangle 56"/>
          <p:cNvSpPr/>
          <p:nvPr/>
        </p:nvSpPr>
        <p:spPr>
          <a:xfrm>
            <a:off x="4206027" y="2294981"/>
            <a:ext cx="460520" cy="392396"/>
          </a:xfrm>
          <a:prstGeom prst="rect">
            <a:avLst/>
          </a:prstGeom>
          <a:solidFill>
            <a:srgbClr val="FF0000">
              <a:alpha val="50000"/>
            </a:srgbClr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 smtClean="0">
              <a:solidFill>
                <a:schemeClr val="tx1"/>
              </a:solidFill>
            </a:endParaRPr>
          </a:p>
        </p:txBody>
      </p:sp>
      <p:sp>
        <p:nvSpPr>
          <p:cNvPr id="58" name="Rectangle 57"/>
          <p:cNvSpPr/>
          <p:nvPr/>
        </p:nvSpPr>
        <p:spPr>
          <a:xfrm>
            <a:off x="3752821" y="2294762"/>
            <a:ext cx="453205" cy="392615"/>
          </a:xfrm>
          <a:prstGeom prst="rect">
            <a:avLst/>
          </a:prstGeom>
          <a:solidFill>
            <a:srgbClr val="FF0000">
              <a:alpha val="50000"/>
            </a:srgbClr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 smtClean="0">
              <a:solidFill>
                <a:schemeClr val="tx1"/>
              </a:solidFill>
            </a:endParaRPr>
          </a:p>
        </p:txBody>
      </p:sp>
      <p:sp>
        <p:nvSpPr>
          <p:cNvPr id="59" name="Rectangle 58"/>
          <p:cNvSpPr/>
          <p:nvPr/>
        </p:nvSpPr>
        <p:spPr>
          <a:xfrm>
            <a:off x="4660423" y="2289802"/>
            <a:ext cx="453205" cy="399930"/>
          </a:xfrm>
          <a:prstGeom prst="rect">
            <a:avLst/>
          </a:prstGeom>
          <a:solidFill>
            <a:srgbClr val="FF0000">
              <a:alpha val="50000"/>
            </a:srgbClr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 smtClean="0">
              <a:solidFill>
                <a:schemeClr val="tx1"/>
              </a:solidFill>
            </a:endParaRPr>
          </a:p>
        </p:txBody>
      </p:sp>
      <p:sp>
        <p:nvSpPr>
          <p:cNvPr id="61" name="Rectangle 60"/>
          <p:cNvSpPr/>
          <p:nvPr/>
        </p:nvSpPr>
        <p:spPr>
          <a:xfrm>
            <a:off x="3300818" y="2911847"/>
            <a:ext cx="1023278" cy="1777319"/>
          </a:xfrm>
          <a:prstGeom prst="rect">
            <a:avLst/>
          </a:prstGeom>
          <a:solidFill>
            <a:srgbClr val="5D9674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 smtClean="0">
              <a:solidFill>
                <a:schemeClr val="tx1"/>
              </a:solidFill>
            </a:endParaRPr>
          </a:p>
        </p:txBody>
      </p:sp>
      <p:sp>
        <p:nvSpPr>
          <p:cNvPr id="63" name="TextBox 62"/>
          <p:cNvSpPr txBox="1"/>
          <p:nvPr/>
        </p:nvSpPr>
        <p:spPr>
          <a:xfrm>
            <a:off x="3732769" y="3419611"/>
            <a:ext cx="75902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 smtClean="0"/>
              <a:t>Batch</a:t>
            </a:r>
          </a:p>
          <a:p>
            <a:r>
              <a:rPr lang="en-US" sz="1000" dirty="0" smtClean="0"/>
              <a:t>Interface</a:t>
            </a:r>
            <a:endParaRPr lang="en-US" sz="1000" dirty="0"/>
          </a:p>
        </p:txBody>
      </p:sp>
      <p:sp>
        <p:nvSpPr>
          <p:cNvPr id="64" name="Rectangle 63"/>
          <p:cNvSpPr/>
          <p:nvPr/>
        </p:nvSpPr>
        <p:spPr>
          <a:xfrm>
            <a:off x="3299295" y="4426581"/>
            <a:ext cx="2677061" cy="621030"/>
          </a:xfrm>
          <a:prstGeom prst="rect">
            <a:avLst/>
          </a:prstGeom>
          <a:solidFill>
            <a:srgbClr val="5D9674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 smtClean="0">
              <a:solidFill>
                <a:schemeClr val="tx1"/>
              </a:solidFill>
            </a:endParaRPr>
          </a:p>
        </p:txBody>
      </p:sp>
      <p:sp>
        <p:nvSpPr>
          <p:cNvPr id="65" name="TextBox 64"/>
          <p:cNvSpPr txBox="1"/>
          <p:nvPr/>
        </p:nvSpPr>
        <p:spPr>
          <a:xfrm>
            <a:off x="4000368" y="4426581"/>
            <a:ext cx="140392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 smtClean="0"/>
              <a:t>Interactive Interface</a:t>
            </a:r>
            <a:endParaRPr lang="en-US" sz="1000" dirty="0"/>
          </a:p>
        </p:txBody>
      </p:sp>
      <p:sp>
        <p:nvSpPr>
          <p:cNvPr id="66" name="Rectangle 65"/>
          <p:cNvSpPr/>
          <p:nvPr/>
        </p:nvSpPr>
        <p:spPr>
          <a:xfrm>
            <a:off x="3300818" y="4647681"/>
            <a:ext cx="453205" cy="399930"/>
          </a:xfrm>
          <a:prstGeom prst="rect">
            <a:avLst/>
          </a:prstGeom>
          <a:solidFill>
            <a:srgbClr val="FF0000">
              <a:alpha val="50000"/>
            </a:srgbClr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 smtClean="0">
              <a:solidFill>
                <a:schemeClr val="tx1"/>
              </a:solidFill>
            </a:endParaRPr>
          </a:p>
        </p:txBody>
      </p:sp>
      <p:sp>
        <p:nvSpPr>
          <p:cNvPr id="67" name="Rectangle 66"/>
          <p:cNvSpPr/>
          <p:nvPr/>
        </p:nvSpPr>
        <p:spPr>
          <a:xfrm>
            <a:off x="3754023" y="4647681"/>
            <a:ext cx="453205" cy="399930"/>
          </a:xfrm>
          <a:prstGeom prst="rect">
            <a:avLst/>
          </a:prstGeom>
          <a:solidFill>
            <a:srgbClr val="FF0000">
              <a:alpha val="50000"/>
            </a:srgbClr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 smtClean="0">
              <a:solidFill>
                <a:schemeClr val="tx1"/>
              </a:solidFill>
            </a:endParaRPr>
          </a:p>
        </p:txBody>
      </p:sp>
      <p:sp>
        <p:nvSpPr>
          <p:cNvPr id="68" name="Rectangle 67"/>
          <p:cNvSpPr/>
          <p:nvPr/>
        </p:nvSpPr>
        <p:spPr>
          <a:xfrm>
            <a:off x="4206027" y="4647681"/>
            <a:ext cx="453205" cy="399930"/>
          </a:xfrm>
          <a:prstGeom prst="rect">
            <a:avLst/>
          </a:prstGeom>
          <a:solidFill>
            <a:srgbClr val="FF0000">
              <a:alpha val="50000"/>
            </a:srgbClr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 smtClean="0">
              <a:solidFill>
                <a:schemeClr val="tx1"/>
              </a:solidFill>
            </a:endParaRPr>
          </a:p>
        </p:txBody>
      </p:sp>
      <p:sp>
        <p:nvSpPr>
          <p:cNvPr id="76" name="Rectangle 75"/>
          <p:cNvSpPr/>
          <p:nvPr/>
        </p:nvSpPr>
        <p:spPr>
          <a:xfrm>
            <a:off x="4660422" y="4647681"/>
            <a:ext cx="453205" cy="399930"/>
          </a:xfrm>
          <a:prstGeom prst="rect">
            <a:avLst/>
          </a:prstGeom>
          <a:solidFill>
            <a:srgbClr val="FF0000">
              <a:alpha val="50000"/>
            </a:srgbClr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 smtClean="0">
              <a:solidFill>
                <a:schemeClr val="tx1"/>
              </a:solidFill>
            </a:endParaRPr>
          </a:p>
        </p:txBody>
      </p:sp>
      <p:sp>
        <p:nvSpPr>
          <p:cNvPr id="79" name="Rectangle 78"/>
          <p:cNvSpPr/>
          <p:nvPr/>
        </p:nvSpPr>
        <p:spPr>
          <a:xfrm>
            <a:off x="3299616" y="2933598"/>
            <a:ext cx="453205" cy="399930"/>
          </a:xfrm>
          <a:prstGeom prst="rect">
            <a:avLst/>
          </a:prstGeom>
          <a:solidFill>
            <a:srgbClr val="FF0000">
              <a:alpha val="50000"/>
            </a:srgbClr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 smtClean="0">
              <a:solidFill>
                <a:schemeClr val="tx1"/>
              </a:solidFill>
            </a:endParaRPr>
          </a:p>
        </p:txBody>
      </p:sp>
      <p:sp>
        <p:nvSpPr>
          <p:cNvPr id="81" name="Rectangle 80"/>
          <p:cNvSpPr/>
          <p:nvPr/>
        </p:nvSpPr>
        <p:spPr>
          <a:xfrm>
            <a:off x="3300818" y="3337960"/>
            <a:ext cx="453205" cy="399930"/>
          </a:xfrm>
          <a:prstGeom prst="rect">
            <a:avLst/>
          </a:prstGeom>
          <a:solidFill>
            <a:srgbClr val="FF0000">
              <a:alpha val="50000"/>
            </a:srgbClr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 smtClean="0">
              <a:solidFill>
                <a:schemeClr val="tx1"/>
              </a:solidFill>
            </a:endParaRPr>
          </a:p>
        </p:txBody>
      </p:sp>
      <p:sp>
        <p:nvSpPr>
          <p:cNvPr id="86" name="Rectangle 85"/>
          <p:cNvSpPr/>
          <p:nvPr/>
        </p:nvSpPr>
        <p:spPr>
          <a:xfrm>
            <a:off x="3299294" y="3737890"/>
            <a:ext cx="453205" cy="399930"/>
          </a:xfrm>
          <a:prstGeom prst="rect">
            <a:avLst/>
          </a:prstGeom>
          <a:solidFill>
            <a:srgbClr val="FF0000">
              <a:alpha val="50000"/>
            </a:srgbClr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 smtClean="0">
              <a:solidFill>
                <a:schemeClr val="tx1"/>
              </a:solidFill>
            </a:endParaRPr>
          </a:p>
        </p:txBody>
      </p:sp>
      <p:sp>
        <p:nvSpPr>
          <p:cNvPr id="87" name="Rectangle 86"/>
          <p:cNvSpPr/>
          <p:nvPr/>
        </p:nvSpPr>
        <p:spPr>
          <a:xfrm>
            <a:off x="3300818" y="4142817"/>
            <a:ext cx="453205" cy="399930"/>
          </a:xfrm>
          <a:prstGeom prst="rect">
            <a:avLst/>
          </a:prstGeom>
          <a:solidFill>
            <a:srgbClr val="FF0000">
              <a:alpha val="50000"/>
            </a:srgbClr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 smtClean="0">
              <a:solidFill>
                <a:schemeClr val="tx1"/>
              </a:solidFill>
            </a:endParaRPr>
          </a:p>
        </p:txBody>
      </p:sp>
      <p:sp>
        <p:nvSpPr>
          <p:cNvPr id="91" name="Can 90"/>
          <p:cNvSpPr/>
          <p:nvPr/>
        </p:nvSpPr>
        <p:spPr>
          <a:xfrm>
            <a:off x="6175318" y="3414382"/>
            <a:ext cx="509512" cy="500105"/>
          </a:xfrm>
          <a:prstGeom prst="can">
            <a:avLst/>
          </a:prstGeom>
          <a:ln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800" dirty="0" smtClean="0">
                <a:solidFill>
                  <a:schemeClr val="tx2"/>
                </a:solidFill>
              </a:rPr>
              <a:t>AccumODS</a:t>
            </a:r>
          </a:p>
        </p:txBody>
      </p:sp>
      <p:sp>
        <p:nvSpPr>
          <p:cNvPr id="92" name="Rectangle 91"/>
          <p:cNvSpPr/>
          <p:nvPr/>
        </p:nvSpPr>
        <p:spPr>
          <a:xfrm>
            <a:off x="5412772" y="3468215"/>
            <a:ext cx="453205" cy="399930"/>
          </a:xfrm>
          <a:prstGeom prst="rect">
            <a:avLst/>
          </a:prstGeom>
          <a:solidFill>
            <a:srgbClr val="FF0000">
              <a:alpha val="50000"/>
            </a:srgbClr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 smtClean="0">
              <a:solidFill>
                <a:schemeClr val="tx1"/>
              </a:solidFill>
            </a:endParaRPr>
          </a:p>
        </p:txBody>
      </p:sp>
      <p:sp>
        <p:nvSpPr>
          <p:cNvPr id="93" name="Rectangle 92"/>
          <p:cNvSpPr/>
          <p:nvPr/>
        </p:nvSpPr>
        <p:spPr>
          <a:xfrm>
            <a:off x="4959567" y="3469760"/>
            <a:ext cx="453205" cy="399930"/>
          </a:xfrm>
          <a:prstGeom prst="rect">
            <a:avLst/>
          </a:prstGeom>
          <a:solidFill>
            <a:srgbClr val="FF0000">
              <a:alpha val="50000"/>
            </a:srgbClr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 smtClean="0">
              <a:solidFill>
                <a:schemeClr val="tx1"/>
              </a:solidFill>
            </a:endParaRPr>
          </a:p>
        </p:txBody>
      </p:sp>
      <p:sp>
        <p:nvSpPr>
          <p:cNvPr id="94" name="Rectangle 93"/>
          <p:cNvSpPr/>
          <p:nvPr/>
        </p:nvSpPr>
        <p:spPr>
          <a:xfrm>
            <a:off x="4504925" y="3468215"/>
            <a:ext cx="453205" cy="399930"/>
          </a:xfrm>
          <a:prstGeom prst="rect">
            <a:avLst/>
          </a:prstGeom>
          <a:solidFill>
            <a:srgbClr val="FF0000">
              <a:alpha val="50000"/>
            </a:srgbClr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 smtClean="0">
              <a:solidFill>
                <a:schemeClr val="tx1"/>
              </a:solidFill>
            </a:endParaRPr>
          </a:p>
        </p:txBody>
      </p:sp>
      <p:cxnSp>
        <p:nvCxnSpPr>
          <p:cNvPr id="20" name="Straight Connector 19"/>
          <p:cNvCxnSpPr>
            <a:stCxn id="92" idx="3"/>
            <a:endCxn id="91" idx="2"/>
          </p:cNvCxnSpPr>
          <p:nvPr/>
        </p:nvCxnSpPr>
        <p:spPr>
          <a:xfrm flipV="1">
            <a:off x="5865977" y="3664435"/>
            <a:ext cx="309341" cy="374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233808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oadmap Summary</a:t>
            </a:r>
            <a:endParaRPr lang="en-US" dirty="0"/>
          </a:p>
        </p:txBody>
      </p:sp>
      <p:graphicFrame>
        <p:nvGraphicFramePr>
          <p:cNvPr id="6" name="Content Placeholder 5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802155285"/>
              </p:ext>
            </p:extLst>
          </p:nvPr>
        </p:nvGraphicFramePr>
        <p:xfrm>
          <a:off x="379565" y="1289076"/>
          <a:ext cx="5836597" cy="4768113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444683"/>
                <a:gridCol w="3135728"/>
                <a:gridCol w="2256186"/>
              </a:tblGrid>
              <a:tr h="236175">
                <a:tc>
                  <a:txBody>
                    <a:bodyPr/>
                    <a:lstStyle/>
                    <a:p>
                      <a:r>
                        <a:rPr lang="en-US" sz="1000" dirty="0" smtClean="0"/>
                        <a:t>No</a:t>
                      </a:r>
                      <a:endParaRPr 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baseline="0" dirty="0" smtClean="0"/>
                        <a:t>Improvement</a:t>
                      </a:r>
                      <a:endParaRPr 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 smtClean="0"/>
                        <a:t>Our Team’s Role</a:t>
                      </a:r>
                      <a:endParaRPr lang="en-US" sz="1000" dirty="0"/>
                    </a:p>
                  </a:txBody>
                  <a:tcPr/>
                </a:tc>
              </a:tr>
              <a:tr h="383784">
                <a:tc rowSpan="2">
                  <a:txBody>
                    <a:bodyPr/>
                    <a:lstStyle/>
                    <a:p>
                      <a:pPr algn="ctr"/>
                      <a:r>
                        <a:rPr lang="en-US" sz="1000" dirty="0" smtClean="0"/>
                        <a:t>1a</a:t>
                      </a:r>
                      <a:endParaRPr lang="en-US" sz="1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Work with DataPower team to solve Splunk logging problem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Advocate/stakeholder</a:t>
                      </a:r>
                    </a:p>
                  </a:txBody>
                  <a:tcPr/>
                </a:tc>
              </a:tr>
              <a:tr h="383784">
                <a:tc vMerge="1">
                  <a:txBody>
                    <a:bodyPr/>
                    <a:lstStyle/>
                    <a:p>
                      <a:pPr algn="ctr"/>
                      <a:endParaRPr lang="en-US" sz="13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Integrate BPM logging with Splunk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r>
                        <a:rPr lang="en-US" sz="1000" dirty="0" smtClean="0"/>
                        <a:t>Ensure</a:t>
                      </a:r>
                      <a:r>
                        <a:rPr lang="en-US" sz="1000" baseline="0" dirty="0" smtClean="0"/>
                        <a:t> requirements included in project / consult with SOA</a:t>
                      </a:r>
                      <a:endParaRPr lang="en-US" sz="1000" dirty="0"/>
                    </a:p>
                  </a:txBody>
                  <a:tcPr/>
                </a:tc>
              </a:tr>
              <a:tr h="236175">
                <a:tc>
                  <a:txBody>
                    <a:bodyPr/>
                    <a:lstStyle/>
                    <a:p>
                      <a:pPr algn="ctr"/>
                      <a:r>
                        <a:rPr lang="en-US" sz="1000" dirty="0" smtClean="0"/>
                        <a:t>1b</a:t>
                      </a:r>
                      <a:endParaRPr 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r>
                        <a:rPr lang="en-US" sz="1000" dirty="0" smtClean="0"/>
                        <a:t>Add Accum</a:t>
                      </a:r>
                      <a:r>
                        <a:rPr lang="en-US" sz="1000" baseline="0" dirty="0" smtClean="0"/>
                        <a:t> ODS Analytics DB</a:t>
                      </a:r>
                      <a:endParaRPr 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r>
                        <a:rPr lang="en-US" sz="1000" dirty="0" smtClean="0"/>
                        <a:t>Delivery responsibility</a:t>
                      </a:r>
                      <a:endParaRPr lang="en-US" sz="1000" dirty="0"/>
                    </a:p>
                  </a:txBody>
                  <a:tcPr/>
                </a:tc>
              </a:tr>
              <a:tr h="236175">
                <a:tc>
                  <a:txBody>
                    <a:bodyPr/>
                    <a:lstStyle/>
                    <a:p>
                      <a:pPr algn="ctr"/>
                      <a:r>
                        <a:rPr lang="en-US" sz="1000" dirty="0" smtClean="0"/>
                        <a:t>2</a:t>
                      </a:r>
                      <a:endParaRPr 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r>
                        <a:rPr lang="en-US" sz="1000" dirty="0" smtClean="0"/>
                        <a:t>Implement controls to eliminate dups</a:t>
                      </a:r>
                      <a:endParaRPr 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smtClean="0"/>
                        <a:t>Delivery responsibility</a:t>
                      </a:r>
                    </a:p>
                  </a:txBody>
                  <a:tcPr/>
                </a:tc>
              </a:tr>
              <a:tr h="383784">
                <a:tc rowSpan="2">
                  <a:txBody>
                    <a:bodyPr/>
                    <a:lstStyle/>
                    <a:p>
                      <a:pPr algn="ctr"/>
                      <a:r>
                        <a:rPr lang="en-US" sz="1000" dirty="0" smtClean="0"/>
                        <a:t>3</a:t>
                      </a:r>
                      <a:endParaRPr lang="en-US" sz="1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Bypass BPM for non-HRA transaction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r>
                        <a:rPr lang="en-US" sz="1000" dirty="0" smtClean="0"/>
                        <a:t>Ensure</a:t>
                      </a:r>
                      <a:r>
                        <a:rPr lang="en-US" sz="1000" baseline="0" dirty="0" smtClean="0"/>
                        <a:t> requirements included in project / consult with SOA</a:t>
                      </a:r>
                      <a:endParaRPr lang="en-US" sz="1000" dirty="0"/>
                    </a:p>
                  </a:txBody>
                  <a:tcPr/>
                </a:tc>
              </a:tr>
              <a:tr h="236175">
                <a:tc vMerge="1">
                  <a:txBody>
                    <a:bodyPr/>
                    <a:lstStyle/>
                    <a:p>
                      <a:pPr algn="ctr"/>
                      <a:endParaRPr lang="en-US" sz="13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r>
                        <a:rPr lang="en-US" sz="1000" dirty="0" smtClean="0"/>
                        <a:t>Modify services to use IMS Connect rather than MQ</a:t>
                      </a:r>
                      <a:endParaRPr 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r>
                        <a:rPr lang="en-US" sz="1000" dirty="0" smtClean="0"/>
                        <a:t>Advocate/stakeholder</a:t>
                      </a:r>
                      <a:r>
                        <a:rPr lang="en-US" sz="1000" baseline="0" dirty="0" smtClean="0"/>
                        <a:t> with SOA</a:t>
                      </a:r>
                      <a:endParaRPr lang="en-US" sz="1000" dirty="0"/>
                    </a:p>
                  </a:txBody>
                  <a:tcPr/>
                </a:tc>
              </a:tr>
              <a:tr h="236175">
                <a:tc rowSpan="2">
                  <a:txBody>
                    <a:bodyPr/>
                    <a:lstStyle/>
                    <a:p>
                      <a:pPr algn="ctr"/>
                      <a:r>
                        <a:rPr lang="en-US" sz="1000" dirty="0" smtClean="0"/>
                        <a:t>4</a:t>
                      </a:r>
                      <a:endParaRPr lang="en-US" sz="1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r>
                        <a:rPr lang="en-US" sz="1000" dirty="0" smtClean="0"/>
                        <a:t>Understand overlap between Accum</a:t>
                      </a:r>
                      <a:r>
                        <a:rPr lang="en-US" sz="1000" baseline="0" dirty="0" smtClean="0"/>
                        <a:t> ODS and WGS</a:t>
                      </a:r>
                      <a:endParaRPr 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r>
                        <a:rPr lang="en-US" sz="1000" dirty="0" smtClean="0"/>
                        <a:t>Lead</a:t>
                      </a:r>
                      <a:endParaRPr lang="en-US" sz="1000" dirty="0"/>
                    </a:p>
                  </a:txBody>
                  <a:tcPr/>
                </a:tc>
              </a:tr>
              <a:tr h="236175">
                <a:tc vMerge="1">
                  <a:txBody>
                    <a:bodyPr/>
                    <a:lstStyle/>
                    <a:p>
                      <a:pPr algn="ctr"/>
                      <a:endParaRPr lang="en-US" sz="13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r>
                        <a:rPr lang="en-US" sz="1000" dirty="0" smtClean="0"/>
                        <a:t>Eliminate</a:t>
                      </a:r>
                      <a:r>
                        <a:rPr lang="en-US" sz="1000" baseline="0" dirty="0" smtClean="0"/>
                        <a:t> coupling between Accum ODS and WGS</a:t>
                      </a:r>
                      <a:endParaRPr 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r>
                        <a:rPr lang="en-US" sz="1000" dirty="0" smtClean="0"/>
                        <a:t>Design /</a:t>
                      </a:r>
                      <a:r>
                        <a:rPr lang="en-US" sz="1000" baseline="0" dirty="0" smtClean="0"/>
                        <a:t> Governance</a:t>
                      </a:r>
                      <a:endParaRPr lang="en-US" sz="1000" dirty="0"/>
                    </a:p>
                  </a:txBody>
                  <a:tcPr/>
                </a:tc>
              </a:tr>
              <a:tr h="531393">
                <a:tc>
                  <a:txBody>
                    <a:bodyPr/>
                    <a:lstStyle/>
                    <a:p>
                      <a:pPr algn="ctr"/>
                      <a:r>
                        <a:rPr lang="en-US" sz="1000" dirty="0" smtClean="0"/>
                        <a:t>5</a:t>
                      </a:r>
                      <a:endParaRPr 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r>
                        <a:rPr lang="en-US" sz="1000" dirty="0" smtClean="0"/>
                        <a:t>Develop </a:t>
                      </a:r>
                      <a:r>
                        <a:rPr lang="en-US" sz="1000" dirty="0" err="1" smtClean="0"/>
                        <a:t>Microservices</a:t>
                      </a:r>
                      <a:r>
                        <a:rPr lang="en-US" sz="1000" dirty="0" smtClean="0"/>
                        <a:t> approach to building Accum</a:t>
                      </a:r>
                      <a:r>
                        <a:rPr lang="en-US" sz="1000" baseline="0" dirty="0" smtClean="0"/>
                        <a:t> ODS functionality</a:t>
                      </a:r>
                      <a:endParaRPr 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r>
                        <a:rPr lang="en-US" sz="1000" dirty="0" smtClean="0"/>
                        <a:t>Owner / Delivery</a:t>
                      </a:r>
                      <a:r>
                        <a:rPr lang="en-US" sz="1000" baseline="0" dirty="0" smtClean="0"/>
                        <a:t> responsibility</a:t>
                      </a:r>
                      <a:endParaRPr lang="en-US" sz="1000" dirty="0"/>
                    </a:p>
                  </a:txBody>
                  <a:tcPr/>
                </a:tc>
              </a:tr>
              <a:tr h="383784">
                <a:tc>
                  <a:txBody>
                    <a:bodyPr/>
                    <a:lstStyle/>
                    <a:p>
                      <a:pPr algn="ctr"/>
                      <a:r>
                        <a:rPr lang="en-US" sz="1000" dirty="0" smtClean="0"/>
                        <a:t>6</a:t>
                      </a:r>
                      <a:endParaRPr 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r>
                        <a:rPr lang="en-US" sz="1000" dirty="0" smtClean="0"/>
                        <a:t>Make</a:t>
                      </a:r>
                      <a:r>
                        <a:rPr lang="en-US" sz="1000" baseline="0" dirty="0" smtClean="0"/>
                        <a:t> IMS transaction changes to eliminate overnight spikes</a:t>
                      </a:r>
                      <a:endParaRPr 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r>
                        <a:rPr lang="en-US" sz="1000" dirty="0" smtClean="0"/>
                        <a:t>Delivery responsibility</a:t>
                      </a:r>
                      <a:endParaRPr lang="en-US" sz="1000" dirty="0"/>
                    </a:p>
                  </a:txBody>
                  <a:tcPr/>
                </a:tc>
              </a:tr>
              <a:tr h="383784">
                <a:tc rowSpan="2">
                  <a:txBody>
                    <a:bodyPr/>
                    <a:lstStyle/>
                    <a:p>
                      <a:pPr algn="ctr"/>
                      <a:r>
                        <a:rPr lang="en-US" sz="1000" dirty="0" smtClean="0"/>
                        <a:t>7</a:t>
                      </a:r>
                      <a:endParaRPr lang="en-US" sz="1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r>
                        <a:rPr lang="en-US" sz="1000" dirty="0" smtClean="0"/>
                        <a:t>Implement staggered</a:t>
                      </a:r>
                      <a:r>
                        <a:rPr lang="en-US" sz="1000" baseline="0" dirty="0" smtClean="0"/>
                        <a:t> IPL’s of mainframe LPAR’s as often as possibl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dvocate/stakeholder</a:t>
                      </a:r>
                    </a:p>
                    <a:p>
                      <a:pPr marL="0" indent="0">
                        <a:buFontTx/>
                        <a:buNone/>
                      </a:pPr>
                      <a:endParaRPr lang="en-US" sz="1000" dirty="0"/>
                    </a:p>
                  </a:txBody>
                  <a:tcPr/>
                </a:tc>
              </a:tr>
              <a:tr h="394639">
                <a:tc vMerge="1">
                  <a:txBody>
                    <a:bodyPr/>
                    <a:lstStyle/>
                    <a:p>
                      <a:pPr algn="ctr"/>
                      <a:endParaRPr 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aseline="0" dirty="0" smtClean="0"/>
                        <a:t>Advocate for SLA with infrastructure and higher levels of availabilit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dvocate/stakeholder</a:t>
                      </a:r>
                      <a:endParaRPr lang="en-US" sz="1000" dirty="0"/>
                    </a:p>
                  </a:txBody>
                  <a:tcPr/>
                </a:tc>
              </a:tr>
              <a:tr h="383784">
                <a:tc>
                  <a:txBody>
                    <a:bodyPr/>
                    <a:lstStyle/>
                    <a:p>
                      <a:pPr algn="ctr"/>
                      <a:r>
                        <a:rPr lang="en-US" sz="1000" dirty="0" smtClean="0"/>
                        <a:t>8</a:t>
                      </a:r>
                      <a:endParaRPr lang="en-US" sz="1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r>
                        <a:rPr lang="en-US" sz="1000" baseline="0" dirty="0" smtClean="0"/>
                        <a:t>Reduce Number of Security Certificates in LITES / Regression tes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dvocate/stakeholder</a:t>
                      </a:r>
                    </a:p>
                    <a:p>
                      <a:pPr marL="0" indent="0">
                        <a:buFontTx/>
                        <a:buNone/>
                      </a:pPr>
                      <a:endParaRPr lang="en-US" sz="1000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COMPANY CONFIDENTIAL  |  FOR INTERNAL USE ONLY  |  DO NOT COPY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2DCB2D-F3A1-47AC-A248-15826C4C808C}" type="slidenum">
              <a:rPr lang="en-US" smtClean="0"/>
              <a:pPr/>
              <a:t>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38035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ccum ODS: Guiding Principle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348740"/>
            <a:ext cx="8229600" cy="4525963"/>
          </a:xfrm>
        </p:spPr>
        <p:txBody>
          <a:bodyPr/>
          <a:lstStyle/>
          <a:p>
            <a:r>
              <a:rPr lang="en-US" sz="2200" dirty="0" smtClean="0"/>
              <a:t>The Accum ODS should be treated like a bank</a:t>
            </a:r>
          </a:p>
          <a:p>
            <a:pPr lvl="1"/>
            <a:r>
              <a:rPr lang="en-US" dirty="0" smtClean="0"/>
              <a:t>Maintain the consistency and sanctity of transactions</a:t>
            </a:r>
          </a:p>
          <a:p>
            <a:pPr lvl="1"/>
            <a:r>
              <a:rPr lang="en-US" dirty="0" smtClean="0"/>
              <a:t>Applies to both real-time and batch interactions</a:t>
            </a:r>
          </a:p>
          <a:p>
            <a:r>
              <a:rPr lang="en-US" sz="2200" dirty="0" smtClean="0"/>
              <a:t>Capture analytics about how well the Accum ODS is functioning</a:t>
            </a:r>
          </a:p>
          <a:p>
            <a:pPr lvl="1"/>
            <a:r>
              <a:rPr lang="en-US" dirty="0" smtClean="0"/>
              <a:t>Supports fact-based decision making</a:t>
            </a:r>
          </a:p>
          <a:p>
            <a:pPr lvl="1"/>
            <a:r>
              <a:rPr lang="en-US" dirty="0" smtClean="0"/>
              <a:t>Supports auditing, logging, balance and controls</a:t>
            </a:r>
          </a:p>
          <a:p>
            <a:r>
              <a:rPr lang="en-US" sz="2200" dirty="0" smtClean="0"/>
              <a:t>The Accum ODS must be treated like a </a:t>
            </a:r>
            <a:r>
              <a:rPr lang="en-US" sz="2200" dirty="0" err="1" smtClean="0"/>
              <a:t>microservice</a:t>
            </a:r>
            <a:endParaRPr lang="en-US" sz="2200" dirty="0" smtClean="0"/>
          </a:p>
          <a:p>
            <a:pPr lvl="1"/>
            <a:r>
              <a:rPr lang="en-US" dirty="0" smtClean="0"/>
              <a:t>Must maintain autonomy and have the ability to make changes independent of any other system, including WGS</a:t>
            </a:r>
          </a:p>
          <a:p>
            <a:pPr lvl="1"/>
            <a:r>
              <a:rPr lang="en-US" dirty="0" smtClean="0"/>
              <a:t>Points of coupling with other systems must be minimized or eliminated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OMPANY CONFIDENTIAL  |  FOR INTERNAL USE ONLY  |  DO NOT COPY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2DCB2D-F3A1-47AC-A248-15826C4C808C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10636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hallenges and Impacts</a:t>
            </a:r>
            <a:endParaRPr lang="en-US" dirty="0"/>
          </a:p>
        </p:txBody>
      </p:sp>
      <p:graphicFrame>
        <p:nvGraphicFramePr>
          <p:cNvPr id="6" name="Content Placeholder 5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80378406"/>
              </p:ext>
            </p:extLst>
          </p:nvPr>
        </p:nvGraphicFramePr>
        <p:xfrm>
          <a:off x="385947" y="1248873"/>
          <a:ext cx="8235538" cy="5098564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626927"/>
                <a:gridCol w="4091591"/>
                <a:gridCol w="3517020"/>
              </a:tblGrid>
              <a:tr h="300851"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No.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Challenge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baseline="0" dirty="0" smtClean="0"/>
                        <a:t>I</a:t>
                      </a:r>
                      <a:r>
                        <a:rPr lang="en-US" sz="1400" dirty="0" smtClean="0"/>
                        <a:t>mpact</a:t>
                      </a:r>
                      <a:endParaRPr lang="en-US" sz="1400" dirty="0"/>
                    </a:p>
                  </a:txBody>
                  <a:tcPr/>
                </a:tc>
              </a:tr>
              <a:tr h="815107">
                <a:tc>
                  <a:txBody>
                    <a:bodyPr/>
                    <a:lstStyle/>
                    <a:p>
                      <a:pPr algn="ctr"/>
                      <a:r>
                        <a:rPr lang="en-US" sz="1300" dirty="0" smtClean="0"/>
                        <a:t>1a</a:t>
                      </a:r>
                      <a:endParaRPr lang="en-US" sz="13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300" dirty="0" smtClean="0"/>
                        <a:t>Insufficient</a:t>
                      </a:r>
                      <a:r>
                        <a:rPr lang="en-US" sz="1300" baseline="0" dirty="0" smtClean="0"/>
                        <a:t> Data Logging ODS Integration Layer</a:t>
                      </a:r>
                      <a:endParaRPr lang="en-US" sz="13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3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Difficult to troubleshoot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3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Limited ability to produce analytics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3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Unable to implement balance and controls internal to ODS</a:t>
                      </a:r>
                    </a:p>
                  </a:txBody>
                  <a:tcPr/>
                </a:tc>
              </a:tr>
              <a:tr h="267018">
                <a:tc>
                  <a:txBody>
                    <a:bodyPr/>
                    <a:lstStyle/>
                    <a:p>
                      <a:pPr algn="ctr"/>
                      <a:r>
                        <a:rPr lang="en-US" sz="1300" dirty="0" smtClean="0"/>
                        <a:t>1b</a:t>
                      </a:r>
                      <a:endParaRPr lang="en-US" sz="13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300" dirty="0" smtClean="0"/>
                        <a:t>Insufficient</a:t>
                      </a:r>
                      <a:r>
                        <a:rPr lang="en-US" sz="1300" baseline="0" dirty="0" smtClean="0"/>
                        <a:t> Data Logging ODS Back End</a:t>
                      </a:r>
                      <a:endParaRPr lang="en-US" sz="13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300" dirty="0" smtClean="0"/>
                        <a:t>Same as above</a:t>
                      </a:r>
                      <a:endParaRPr lang="en-US" sz="1300" dirty="0"/>
                    </a:p>
                  </a:txBody>
                  <a:tcPr/>
                </a:tc>
              </a:tr>
              <a:tr h="267018">
                <a:tc>
                  <a:txBody>
                    <a:bodyPr/>
                    <a:lstStyle/>
                    <a:p>
                      <a:pPr algn="ctr"/>
                      <a:r>
                        <a:rPr lang="en-US" sz="1300" dirty="0" smtClean="0"/>
                        <a:t>2</a:t>
                      </a:r>
                      <a:endParaRPr lang="en-US" sz="13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300" dirty="0" smtClean="0"/>
                        <a:t>Duplicate</a:t>
                      </a:r>
                      <a:r>
                        <a:rPr lang="en-US" sz="1300" baseline="0" dirty="0" smtClean="0"/>
                        <a:t> Entries in the Accum ODS from ESI</a:t>
                      </a:r>
                      <a:endParaRPr lang="en-US" sz="13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300" dirty="0" smtClean="0"/>
                        <a:t>Approx</a:t>
                      </a:r>
                      <a:r>
                        <a:rPr lang="en-US" sz="1300" baseline="0" dirty="0" smtClean="0"/>
                        <a:t> 1500 dups/day from ESI in the ODS</a:t>
                      </a:r>
                      <a:endParaRPr lang="en-US" sz="1300" dirty="0"/>
                    </a:p>
                  </a:txBody>
                  <a:tcPr/>
                </a:tc>
              </a:tr>
              <a:tr h="449714">
                <a:tc>
                  <a:txBody>
                    <a:bodyPr/>
                    <a:lstStyle/>
                    <a:p>
                      <a:pPr algn="ctr"/>
                      <a:r>
                        <a:rPr lang="en-US" sz="1300" dirty="0" smtClean="0"/>
                        <a:t>3</a:t>
                      </a:r>
                      <a:endParaRPr lang="en-US" sz="13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300" dirty="0" smtClean="0"/>
                        <a:t>Integration</a:t>
                      </a:r>
                      <a:r>
                        <a:rPr lang="en-US" sz="1300" baseline="0" dirty="0" smtClean="0"/>
                        <a:t> layer is complex</a:t>
                      </a:r>
                      <a:endParaRPr lang="en-US" sz="13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3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Difficult to troubleshoot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3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Slows performance</a:t>
                      </a:r>
                    </a:p>
                  </a:txBody>
                  <a:tcPr/>
                </a:tc>
              </a:tr>
              <a:tr h="815107">
                <a:tc>
                  <a:txBody>
                    <a:bodyPr/>
                    <a:lstStyle/>
                    <a:p>
                      <a:pPr algn="ctr"/>
                      <a:r>
                        <a:rPr lang="en-US" sz="1300" dirty="0" smtClean="0"/>
                        <a:t>4</a:t>
                      </a:r>
                      <a:endParaRPr lang="en-US" sz="13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300" dirty="0" smtClean="0"/>
                        <a:t>The</a:t>
                      </a:r>
                      <a:r>
                        <a:rPr lang="en-US" sz="1300" baseline="0" dirty="0" smtClean="0"/>
                        <a:t> Accum ODS shares code with WGS and accesses IMS Membership DB’s directly</a:t>
                      </a:r>
                      <a:endParaRPr lang="en-US" sz="13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300" dirty="0" smtClean="0"/>
                        <a:t>Points of coupling restrict </a:t>
                      </a:r>
                      <a:r>
                        <a:rPr lang="en-US" sz="1300" baseline="0" dirty="0" smtClean="0"/>
                        <a:t>Accum ODS independence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300" baseline="0" dirty="0" smtClean="0"/>
                        <a:t>Dependence on code / DB’s managed by other teams limits our agility</a:t>
                      </a:r>
                      <a:endParaRPr lang="en-US" sz="1300" dirty="0"/>
                    </a:p>
                  </a:txBody>
                  <a:tcPr/>
                </a:tc>
              </a:tr>
              <a:tr h="449714">
                <a:tc>
                  <a:txBody>
                    <a:bodyPr/>
                    <a:lstStyle/>
                    <a:p>
                      <a:pPr algn="ctr"/>
                      <a:r>
                        <a:rPr lang="en-US" sz="1300" dirty="0" smtClean="0"/>
                        <a:t>5</a:t>
                      </a:r>
                      <a:endParaRPr lang="en-US" sz="13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300" dirty="0" smtClean="0"/>
                        <a:t>Existing Member Other Enrollment (MOE)</a:t>
                      </a:r>
                      <a:r>
                        <a:rPr lang="en-US" sz="1300" baseline="0" dirty="0" smtClean="0"/>
                        <a:t> Process is problematic</a:t>
                      </a:r>
                      <a:endParaRPr lang="en-US" sz="13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300" dirty="0" smtClean="0"/>
                        <a:t>We encounter issues with Transitions</a:t>
                      </a:r>
                      <a:r>
                        <a:rPr lang="en-US" sz="1300" baseline="0" dirty="0" smtClean="0"/>
                        <a:t> and Renewals</a:t>
                      </a:r>
                      <a:endParaRPr lang="en-US" sz="1300" dirty="0"/>
                    </a:p>
                  </a:txBody>
                  <a:tcPr/>
                </a:tc>
              </a:tr>
              <a:tr h="449714">
                <a:tc>
                  <a:txBody>
                    <a:bodyPr/>
                    <a:lstStyle/>
                    <a:p>
                      <a:pPr algn="ctr"/>
                      <a:r>
                        <a:rPr lang="en-US" sz="1300" dirty="0" smtClean="0"/>
                        <a:t>6</a:t>
                      </a:r>
                      <a:endParaRPr lang="en-US" sz="13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300" dirty="0" smtClean="0"/>
                        <a:t>Accum</a:t>
                      </a:r>
                      <a:r>
                        <a:rPr lang="en-US" sz="1300" baseline="0" dirty="0" smtClean="0"/>
                        <a:t> ODS stalls briefly multiple times during WGS nightly batch process</a:t>
                      </a:r>
                      <a:endParaRPr lang="en-US" sz="13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300" dirty="0" smtClean="0"/>
                        <a:t>Transactions must be retried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300" dirty="0" smtClean="0"/>
                        <a:t>Anthem </a:t>
                      </a:r>
                      <a:r>
                        <a:rPr lang="en-US" sz="1300" baseline="0" dirty="0" smtClean="0"/>
                        <a:t>members delayed at the pharmacy</a:t>
                      </a:r>
                      <a:endParaRPr lang="en-US" sz="1300" dirty="0"/>
                    </a:p>
                  </a:txBody>
                  <a:tcPr/>
                </a:tc>
              </a:tr>
              <a:tr h="449714">
                <a:tc>
                  <a:txBody>
                    <a:bodyPr/>
                    <a:lstStyle/>
                    <a:p>
                      <a:pPr algn="ctr"/>
                      <a:r>
                        <a:rPr lang="en-US" sz="1300" dirty="0" smtClean="0"/>
                        <a:t>7</a:t>
                      </a:r>
                      <a:endParaRPr lang="en-US" sz="13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300" dirty="0" smtClean="0">
                          <a:solidFill>
                            <a:srgbClr val="000000"/>
                          </a:solidFill>
                        </a:rPr>
                        <a:t>During WellPoint’s monthly hardware maintenance window the Accum ODS is down for 7 hours</a:t>
                      </a:r>
                      <a:r>
                        <a:rPr lang="en-US" sz="1300" baseline="0" dirty="0" smtClean="0">
                          <a:solidFill>
                            <a:srgbClr val="000000"/>
                          </a:solidFill>
                        </a:rPr>
                        <a:t> every month</a:t>
                      </a:r>
                      <a:endParaRPr lang="en-US" sz="1300" dirty="0" smtClean="0">
                        <a:solidFill>
                          <a:prstClr val="black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300" dirty="0" smtClean="0"/>
                        <a:t>Members impacted at pharmacy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300" dirty="0" smtClean="0"/>
                        <a:t>We</a:t>
                      </a:r>
                      <a:r>
                        <a:rPr lang="en-US" sz="1300" baseline="0" dirty="0" smtClean="0"/>
                        <a:t> can’t service our Members 24x7</a:t>
                      </a:r>
                      <a:endParaRPr lang="en-US" sz="1300" dirty="0"/>
                    </a:p>
                  </a:txBody>
                  <a:tcPr/>
                </a:tc>
              </a:tr>
              <a:tr h="496084">
                <a:tc>
                  <a:txBody>
                    <a:bodyPr/>
                    <a:lstStyle/>
                    <a:p>
                      <a:pPr algn="ctr"/>
                      <a:r>
                        <a:rPr lang="en-US" sz="1300" dirty="0" smtClean="0"/>
                        <a:t>8</a:t>
                      </a:r>
                      <a:endParaRPr lang="en-US" sz="13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300" dirty="0" smtClean="0">
                          <a:solidFill>
                            <a:prstClr val="black"/>
                          </a:solidFill>
                        </a:rPr>
                        <a:t>Accum ODS HRA transactions are intermittently slow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300" dirty="0" smtClean="0"/>
                        <a:t>Members impacted at pharmacy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300" dirty="0" smtClean="0"/>
                        <a:t>Transactions retried</a:t>
                      </a:r>
                      <a:endParaRPr lang="en-US" sz="1300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OMPANY CONFIDENTIAL  |  FOR INTERNAL USE ONLY  |  DO NOT COPY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2DCB2D-F3A1-47AC-A248-15826C4C808C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8499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280160"/>
            <a:ext cx="6751122" cy="1499616"/>
          </a:xfrm>
        </p:spPr>
        <p:txBody>
          <a:bodyPr/>
          <a:lstStyle/>
          <a:p>
            <a:r>
              <a:rPr lang="en-US" dirty="0" smtClean="0"/>
              <a:t>Strategy and Roadmap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OMPANY CONFIDENTIAL  |  FOR INTERNAL USE ONLY  |  DO NOT COPY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2DCB2D-F3A1-47AC-A248-15826C4C808C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148372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mprovement #1a: Add Logging/Analytics to ODS</a:t>
            </a:r>
            <a:br>
              <a:rPr lang="en-US" dirty="0" smtClean="0"/>
            </a:br>
            <a:r>
              <a:rPr lang="en-US" dirty="0" smtClean="0"/>
              <a:t>Integration Layer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OMPANY CONFIDENTIAL  |  FOR INTERNAL USE ONLY  |  DO NOT COPY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2DCB2D-F3A1-47AC-A248-15826C4C808C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33" name="Rectangle 32"/>
          <p:cNvSpPr/>
          <p:nvPr/>
        </p:nvSpPr>
        <p:spPr>
          <a:xfrm>
            <a:off x="551783" y="5070764"/>
            <a:ext cx="3750908" cy="1014726"/>
          </a:xfrm>
          <a:prstGeom prst="rect">
            <a:avLst/>
          </a:prstGeom>
          <a:solidFill>
            <a:schemeClr val="accent5"/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 smtClean="0">
              <a:solidFill>
                <a:schemeClr val="tx2"/>
              </a:solidFill>
            </a:endParaRPr>
          </a:p>
        </p:txBody>
      </p:sp>
      <p:sp>
        <p:nvSpPr>
          <p:cNvPr id="34" name="Rectangle 33"/>
          <p:cNvSpPr/>
          <p:nvPr/>
        </p:nvSpPr>
        <p:spPr>
          <a:xfrm>
            <a:off x="551783" y="2677983"/>
            <a:ext cx="3750908" cy="1989267"/>
          </a:xfrm>
          <a:prstGeom prst="rect">
            <a:avLst/>
          </a:prstGeom>
          <a:solidFill>
            <a:schemeClr val="accent5"/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dirty="0" err="1" smtClean="0">
              <a:solidFill>
                <a:schemeClr val="tx2"/>
              </a:solidFill>
            </a:endParaRPr>
          </a:p>
        </p:txBody>
      </p:sp>
      <p:sp>
        <p:nvSpPr>
          <p:cNvPr id="36" name="Rectangle 35"/>
          <p:cNvSpPr/>
          <p:nvPr/>
        </p:nvSpPr>
        <p:spPr>
          <a:xfrm>
            <a:off x="3311683" y="2281715"/>
            <a:ext cx="715992" cy="353683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>
                <a:solidFill>
                  <a:schemeClr val="tx1"/>
                </a:solidFill>
              </a:rPr>
              <a:t>Consumer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" name="Rectangle 36"/>
          <p:cNvSpPr/>
          <p:nvPr/>
        </p:nvSpPr>
        <p:spPr>
          <a:xfrm>
            <a:off x="3277178" y="3575721"/>
            <a:ext cx="785171" cy="353683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>
                <a:solidFill>
                  <a:schemeClr val="tx1"/>
                </a:solidFill>
              </a:rPr>
              <a:t>DataPower</a:t>
            </a:r>
          </a:p>
          <a:p>
            <a:pPr algn="ctr"/>
            <a:r>
              <a:rPr lang="en-US" sz="1000" dirty="0" smtClean="0">
                <a:solidFill>
                  <a:schemeClr val="tx1"/>
                </a:solidFill>
              </a:rPr>
              <a:t>Gateway</a:t>
            </a:r>
          </a:p>
        </p:txBody>
      </p:sp>
      <p:sp>
        <p:nvSpPr>
          <p:cNvPr id="38" name="Rectangle 37"/>
          <p:cNvSpPr/>
          <p:nvPr/>
        </p:nvSpPr>
        <p:spPr>
          <a:xfrm>
            <a:off x="2094745" y="3576957"/>
            <a:ext cx="817247" cy="353683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>
                <a:solidFill>
                  <a:schemeClr val="tx1"/>
                </a:solidFill>
              </a:rPr>
              <a:t>BPM Servers</a:t>
            </a:r>
          </a:p>
        </p:txBody>
      </p:sp>
      <p:sp>
        <p:nvSpPr>
          <p:cNvPr id="39" name="Rectangle 38"/>
          <p:cNvSpPr/>
          <p:nvPr/>
        </p:nvSpPr>
        <p:spPr>
          <a:xfrm>
            <a:off x="913707" y="3577421"/>
            <a:ext cx="833719" cy="353683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>
                <a:solidFill>
                  <a:schemeClr val="tx1"/>
                </a:solidFill>
              </a:rPr>
              <a:t>DataPower</a:t>
            </a:r>
          </a:p>
          <a:p>
            <a:pPr algn="ctr"/>
            <a:r>
              <a:rPr lang="en-US" sz="1000" dirty="0" smtClean="0">
                <a:solidFill>
                  <a:schemeClr val="tx1"/>
                </a:solidFill>
              </a:rPr>
              <a:t>DAL</a:t>
            </a:r>
          </a:p>
        </p:txBody>
      </p:sp>
      <p:sp>
        <p:nvSpPr>
          <p:cNvPr id="40" name="Rectangle 39"/>
          <p:cNvSpPr/>
          <p:nvPr/>
        </p:nvSpPr>
        <p:spPr>
          <a:xfrm>
            <a:off x="913708" y="4179465"/>
            <a:ext cx="833718" cy="39254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>
                <a:solidFill>
                  <a:schemeClr val="tx1"/>
                </a:solidFill>
              </a:rPr>
              <a:t>Midrange</a:t>
            </a:r>
          </a:p>
          <a:p>
            <a:pPr algn="ctr"/>
            <a:r>
              <a:rPr lang="en-US" sz="1000" dirty="0" smtClean="0">
                <a:solidFill>
                  <a:schemeClr val="tx1"/>
                </a:solidFill>
              </a:rPr>
              <a:t>MQ</a:t>
            </a:r>
          </a:p>
        </p:txBody>
      </p:sp>
      <p:cxnSp>
        <p:nvCxnSpPr>
          <p:cNvPr id="42" name="Straight Arrow Connector 41"/>
          <p:cNvCxnSpPr>
            <a:stCxn id="36" idx="2"/>
            <a:endCxn id="37" idx="0"/>
          </p:cNvCxnSpPr>
          <p:nvPr/>
        </p:nvCxnSpPr>
        <p:spPr>
          <a:xfrm>
            <a:off x="3669679" y="2635398"/>
            <a:ext cx="85" cy="940323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Arrow Connector 42"/>
          <p:cNvCxnSpPr>
            <a:stCxn id="37" idx="1"/>
            <a:endCxn id="38" idx="3"/>
          </p:cNvCxnSpPr>
          <p:nvPr/>
        </p:nvCxnSpPr>
        <p:spPr>
          <a:xfrm flipH="1">
            <a:off x="2911992" y="3752563"/>
            <a:ext cx="365186" cy="1236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Arrow Connector 43"/>
          <p:cNvCxnSpPr>
            <a:stCxn id="38" idx="1"/>
            <a:endCxn id="39" idx="3"/>
          </p:cNvCxnSpPr>
          <p:nvPr/>
        </p:nvCxnSpPr>
        <p:spPr>
          <a:xfrm flipH="1">
            <a:off x="1747426" y="3753799"/>
            <a:ext cx="347319" cy="464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Arrow Connector 44"/>
          <p:cNvCxnSpPr>
            <a:stCxn id="39" idx="2"/>
            <a:endCxn id="40" idx="0"/>
          </p:cNvCxnSpPr>
          <p:nvPr/>
        </p:nvCxnSpPr>
        <p:spPr>
          <a:xfrm>
            <a:off x="1330567" y="3931104"/>
            <a:ext cx="0" cy="248361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Box 45"/>
          <p:cNvSpPr txBox="1"/>
          <p:nvPr/>
        </p:nvSpPr>
        <p:spPr>
          <a:xfrm>
            <a:off x="564082" y="2700935"/>
            <a:ext cx="178917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/>
              <a:t>ODS Integration Layer</a:t>
            </a:r>
            <a:endParaRPr lang="en-US" sz="1400" dirty="0"/>
          </a:p>
        </p:txBody>
      </p:sp>
      <p:sp>
        <p:nvSpPr>
          <p:cNvPr id="47" name="Rectangle 46"/>
          <p:cNvSpPr/>
          <p:nvPr/>
        </p:nvSpPr>
        <p:spPr>
          <a:xfrm>
            <a:off x="2094744" y="5338551"/>
            <a:ext cx="817247" cy="353683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>
                <a:solidFill>
                  <a:schemeClr val="tx1"/>
                </a:solidFill>
              </a:rPr>
              <a:t>IMS</a:t>
            </a:r>
          </a:p>
        </p:txBody>
      </p:sp>
      <p:sp>
        <p:nvSpPr>
          <p:cNvPr id="48" name="TextBox 47"/>
          <p:cNvSpPr txBox="1"/>
          <p:nvPr/>
        </p:nvSpPr>
        <p:spPr>
          <a:xfrm>
            <a:off x="564082" y="5777713"/>
            <a:ext cx="12291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/>
              <a:t>CA Mainframe</a:t>
            </a:r>
            <a:endParaRPr lang="en-US" sz="1400" dirty="0"/>
          </a:p>
        </p:txBody>
      </p:sp>
      <p:sp>
        <p:nvSpPr>
          <p:cNvPr id="49" name="Can 48"/>
          <p:cNvSpPr/>
          <p:nvPr/>
        </p:nvSpPr>
        <p:spPr>
          <a:xfrm>
            <a:off x="3392095" y="5260556"/>
            <a:ext cx="555167" cy="493116"/>
          </a:xfrm>
          <a:prstGeom prst="can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>
                <a:solidFill>
                  <a:schemeClr val="tx1"/>
                </a:solidFill>
              </a:rPr>
              <a:t>ODS</a:t>
            </a:r>
          </a:p>
        </p:txBody>
      </p:sp>
      <p:cxnSp>
        <p:nvCxnSpPr>
          <p:cNvPr id="50" name="Straight Arrow Connector 49"/>
          <p:cNvCxnSpPr>
            <a:endCxn id="47" idx="1"/>
          </p:cNvCxnSpPr>
          <p:nvPr/>
        </p:nvCxnSpPr>
        <p:spPr>
          <a:xfrm>
            <a:off x="1670232" y="5507114"/>
            <a:ext cx="424512" cy="8279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Arrow Connector 50"/>
          <p:cNvCxnSpPr>
            <a:stCxn id="47" idx="3"/>
            <a:endCxn id="49" idx="2"/>
          </p:cNvCxnSpPr>
          <p:nvPr/>
        </p:nvCxnSpPr>
        <p:spPr>
          <a:xfrm flipV="1">
            <a:off x="2911991" y="5507114"/>
            <a:ext cx="480104" cy="8279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Rectangle 58"/>
          <p:cNvSpPr/>
          <p:nvPr/>
        </p:nvSpPr>
        <p:spPr>
          <a:xfrm>
            <a:off x="4787577" y="5070764"/>
            <a:ext cx="3750908" cy="1014726"/>
          </a:xfrm>
          <a:prstGeom prst="rect">
            <a:avLst/>
          </a:prstGeom>
          <a:solidFill>
            <a:schemeClr val="accent5"/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 smtClean="0">
              <a:solidFill>
                <a:schemeClr val="tx2"/>
              </a:solidFill>
            </a:endParaRPr>
          </a:p>
        </p:txBody>
      </p:sp>
      <p:sp>
        <p:nvSpPr>
          <p:cNvPr id="60" name="Rectangle 59"/>
          <p:cNvSpPr/>
          <p:nvPr/>
        </p:nvSpPr>
        <p:spPr>
          <a:xfrm>
            <a:off x="4787577" y="2677983"/>
            <a:ext cx="3750908" cy="1989267"/>
          </a:xfrm>
          <a:prstGeom prst="rect">
            <a:avLst/>
          </a:prstGeom>
          <a:solidFill>
            <a:schemeClr val="accent5"/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dirty="0" err="1" smtClean="0">
              <a:solidFill>
                <a:schemeClr val="tx2"/>
              </a:solidFill>
            </a:endParaRPr>
          </a:p>
        </p:txBody>
      </p:sp>
      <p:sp>
        <p:nvSpPr>
          <p:cNvPr id="62" name="Rectangle 61"/>
          <p:cNvSpPr/>
          <p:nvPr/>
        </p:nvSpPr>
        <p:spPr>
          <a:xfrm>
            <a:off x="7505022" y="2281715"/>
            <a:ext cx="785170" cy="353683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>
                <a:solidFill>
                  <a:schemeClr val="tx1"/>
                </a:solidFill>
              </a:rPr>
              <a:t>Consumer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3" name="Rectangle 62"/>
          <p:cNvSpPr/>
          <p:nvPr/>
        </p:nvSpPr>
        <p:spPr>
          <a:xfrm>
            <a:off x="7505021" y="3575964"/>
            <a:ext cx="785171" cy="353683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>
                <a:solidFill>
                  <a:schemeClr val="tx1"/>
                </a:solidFill>
              </a:rPr>
              <a:t>DataPower</a:t>
            </a:r>
          </a:p>
          <a:p>
            <a:pPr algn="ctr"/>
            <a:r>
              <a:rPr lang="en-US" sz="1000" dirty="0" smtClean="0">
                <a:solidFill>
                  <a:schemeClr val="tx1"/>
                </a:solidFill>
              </a:rPr>
              <a:t>Gateway</a:t>
            </a:r>
          </a:p>
        </p:txBody>
      </p:sp>
      <p:sp>
        <p:nvSpPr>
          <p:cNvPr id="64" name="Rectangle 63"/>
          <p:cNvSpPr/>
          <p:nvPr/>
        </p:nvSpPr>
        <p:spPr>
          <a:xfrm>
            <a:off x="6322588" y="3577200"/>
            <a:ext cx="817247" cy="353683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>
                <a:solidFill>
                  <a:schemeClr val="tx1"/>
                </a:solidFill>
              </a:rPr>
              <a:t>BPM Servers</a:t>
            </a:r>
          </a:p>
        </p:txBody>
      </p:sp>
      <p:sp>
        <p:nvSpPr>
          <p:cNvPr id="65" name="Rectangle 64"/>
          <p:cNvSpPr/>
          <p:nvPr/>
        </p:nvSpPr>
        <p:spPr>
          <a:xfrm>
            <a:off x="5141550" y="3577664"/>
            <a:ext cx="833719" cy="353683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>
                <a:solidFill>
                  <a:schemeClr val="tx1"/>
                </a:solidFill>
              </a:rPr>
              <a:t>DataPower</a:t>
            </a:r>
          </a:p>
          <a:p>
            <a:pPr algn="ctr"/>
            <a:r>
              <a:rPr lang="en-US" sz="1000" dirty="0" smtClean="0">
                <a:solidFill>
                  <a:schemeClr val="tx1"/>
                </a:solidFill>
              </a:rPr>
              <a:t>DAL</a:t>
            </a:r>
          </a:p>
        </p:txBody>
      </p:sp>
      <p:cxnSp>
        <p:nvCxnSpPr>
          <p:cNvPr id="68" name="Straight Arrow Connector 67"/>
          <p:cNvCxnSpPr>
            <a:stCxn id="62" idx="2"/>
            <a:endCxn id="63" idx="0"/>
          </p:cNvCxnSpPr>
          <p:nvPr/>
        </p:nvCxnSpPr>
        <p:spPr>
          <a:xfrm>
            <a:off x="7897607" y="2635398"/>
            <a:ext cx="0" cy="940566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Straight Arrow Connector 68"/>
          <p:cNvCxnSpPr>
            <a:stCxn id="63" idx="1"/>
            <a:endCxn id="64" idx="3"/>
          </p:cNvCxnSpPr>
          <p:nvPr/>
        </p:nvCxnSpPr>
        <p:spPr>
          <a:xfrm flipH="1">
            <a:off x="7139835" y="3752806"/>
            <a:ext cx="365186" cy="1236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Straight Arrow Connector 69"/>
          <p:cNvCxnSpPr>
            <a:stCxn id="64" idx="1"/>
            <a:endCxn id="65" idx="3"/>
          </p:cNvCxnSpPr>
          <p:nvPr/>
        </p:nvCxnSpPr>
        <p:spPr>
          <a:xfrm flipH="1">
            <a:off x="5975269" y="3754042"/>
            <a:ext cx="347319" cy="464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TextBox 71"/>
          <p:cNvSpPr txBox="1"/>
          <p:nvPr/>
        </p:nvSpPr>
        <p:spPr>
          <a:xfrm>
            <a:off x="4787577" y="2673699"/>
            <a:ext cx="178917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/>
              <a:t>ODS Integration Layer</a:t>
            </a:r>
            <a:endParaRPr lang="en-US" sz="1400" dirty="0"/>
          </a:p>
        </p:txBody>
      </p:sp>
      <p:sp>
        <p:nvSpPr>
          <p:cNvPr id="73" name="Rectangle 72"/>
          <p:cNvSpPr/>
          <p:nvPr/>
        </p:nvSpPr>
        <p:spPr>
          <a:xfrm>
            <a:off x="6322588" y="5340779"/>
            <a:ext cx="817247" cy="353683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>
                <a:solidFill>
                  <a:schemeClr val="tx1"/>
                </a:solidFill>
              </a:rPr>
              <a:t>IMS</a:t>
            </a:r>
          </a:p>
        </p:txBody>
      </p:sp>
      <p:sp>
        <p:nvSpPr>
          <p:cNvPr id="74" name="TextBox 73"/>
          <p:cNvSpPr txBox="1"/>
          <p:nvPr/>
        </p:nvSpPr>
        <p:spPr>
          <a:xfrm>
            <a:off x="4802023" y="5771359"/>
            <a:ext cx="12291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/>
              <a:t>CA Mainframe</a:t>
            </a:r>
            <a:endParaRPr lang="en-US" sz="1400" dirty="0"/>
          </a:p>
        </p:txBody>
      </p:sp>
      <p:sp>
        <p:nvSpPr>
          <p:cNvPr id="75" name="Can 74"/>
          <p:cNvSpPr/>
          <p:nvPr/>
        </p:nvSpPr>
        <p:spPr>
          <a:xfrm>
            <a:off x="7564690" y="5273211"/>
            <a:ext cx="673699" cy="493116"/>
          </a:xfrm>
          <a:prstGeom prst="can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>
                <a:solidFill>
                  <a:schemeClr val="tx1"/>
                </a:solidFill>
              </a:rPr>
              <a:t>ODS</a:t>
            </a:r>
          </a:p>
        </p:txBody>
      </p:sp>
      <p:cxnSp>
        <p:nvCxnSpPr>
          <p:cNvPr id="77" name="Straight Arrow Connector 76"/>
          <p:cNvCxnSpPr>
            <a:stCxn id="73" idx="3"/>
            <a:endCxn id="75" idx="2"/>
          </p:cNvCxnSpPr>
          <p:nvPr/>
        </p:nvCxnSpPr>
        <p:spPr>
          <a:xfrm>
            <a:off x="7139835" y="5517621"/>
            <a:ext cx="424855" cy="2148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7" name="Can 106"/>
          <p:cNvSpPr/>
          <p:nvPr/>
        </p:nvSpPr>
        <p:spPr>
          <a:xfrm>
            <a:off x="2150403" y="2982570"/>
            <a:ext cx="686206" cy="493116"/>
          </a:xfrm>
          <a:prstGeom prst="can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>
                <a:solidFill>
                  <a:schemeClr val="tx1"/>
                </a:solidFill>
              </a:rPr>
              <a:t>Splunk</a:t>
            </a:r>
          </a:p>
          <a:p>
            <a:pPr algn="ctr"/>
            <a:r>
              <a:rPr lang="en-US" sz="1000" dirty="0" smtClean="0">
                <a:solidFill>
                  <a:schemeClr val="tx1"/>
                </a:solidFill>
              </a:rPr>
              <a:t>Logging</a:t>
            </a:r>
          </a:p>
        </p:txBody>
      </p:sp>
      <p:cxnSp>
        <p:nvCxnSpPr>
          <p:cNvPr id="116" name="Elbow Connector 115"/>
          <p:cNvCxnSpPr>
            <a:stCxn id="39" idx="0"/>
            <a:endCxn id="107" idx="2"/>
          </p:cNvCxnSpPr>
          <p:nvPr/>
        </p:nvCxnSpPr>
        <p:spPr>
          <a:xfrm rot="5400000" flipH="1" flipV="1">
            <a:off x="1566339" y="2993357"/>
            <a:ext cx="348293" cy="819836"/>
          </a:xfrm>
          <a:prstGeom prst="bentConnector2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4" name="Can 123"/>
          <p:cNvSpPr/>
          <p:nvPr/>
        </p:nvSpPr>
        <p:spPr>
          <a:xfrm>
            <a:off x="6392701" y="2940935"/>
            <a:ext cx="686208" cy="493116"/>
          </a:xfrm>
          <a:prstGeom prst="can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>
                <a:solidFill>
                  <a:schemeClr val="tx1"/>
                </a:solidFill>
              </a:rPr>
              <a:t>Improved</a:t>
            </a:r>
          </a:p>
          <a:p>
            <a:pPr algn="ctr"/>
            <a:r>
              <a:rPr lang="en-US" sz="1000" dirty="0" smtClean="0">
                <a:solidFill>
                  <a:schemeClr val="tx1"/>
                </a:solidFill>
              </a:rPr>
              <a:t>Splunk</a:t>
            </a:r>
          </a:p>
          <a:p>
            <a:pPr algn="ctr"/>
            <a:r>
              <a:rPr lang="en-US" sz="1000" dirty="0" smtClean="0">
                <a:solidFill>
                  <a:schemeClr val="tx1"/>
                </a:solidFill>
              </a:rPr>
              <a:t>Logging</a:t>
            </a:r>
          </a:p>
        </p:txBody>
      </p:sp>
      <p:cxnSp>
        <p:nvCxnSpPr>
          <p:cNvPr id="129" name="Elbow Connector 128"/>
          <p:cNvCxnSpPr>
            <a:endCxn id="107" idx="4"/>
          </p:cNvCxnSpPr>
          <p:nvPr/>
        </p:nvCxnSpPr>
        <p:spPr>
          <a:xfrm rot="10800000">
            <a:off x="2836610" y="3229129"/>
            <a:ext cx="635901" cy="346595"/>
          </a:xfrm>
          <a:prstGeom prst="bentConnector3">
            <a:avLst>
              <a:gd name="adj1" fmla="val -1266"/>
            </a:avLst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2" name="Elbow Connector 131"/>
          <p:cNvCxnSpPr/>
          <p:nvPr/>
        </p:nvCxnSpPr>
        <p:spPr>
          <a:xfrm rot="10800000">
            <a:off x="7068277" y="3229129"/>
            <a:ext cx="572927" cy="346593"/>
          </a:xfrm>
          <a:prstGeom prst="bentConnector3">
            <a:avLst>
              <a:gd name="adj1" fmla="val 38"/>
            </a:avLst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5" name="Elbow Connector 134"/>
          <p:cNvCxnSpPr>
            <a:stCxn id="65" idx="0"/>
            <a:endCxn id="124" idx="2"/>
          </p:cNvCxnSpPr>
          <p:nvPr/>
        </p:nvCxnSpPr>
        <p:spPr>
          <a:xfrm rot="5400000" flipH="1" flipV="1">
            <a:off x="5780470" y="2965434"/>
            <a:ext cx="390171" cy="834291"/>
          </a:xfrm>
          <a:prstGeom prst="bentConnector2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3" name="Straight Arrow Connector 152"/>
          <p:cNvCxnSpPr>
            <a:endCxn id="78" idx="0"/>
          </p:cNvCxnSpPr>
          <p:nvPr/>
        </p:nvCxnSpPr>
        <p:spPr>
          <a:xfrm>
            <a:off x="5562863" y="3930640"/>
            <a:ext cx="1485" cy="285544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5" name="Straight Arrow Connector 154"/>
          <p:cNvCxnSpPr>
            <a:endCxn id="73" idx="1"/>
          </p:cNvCxnSpPr>
          <p:nvPr/>
        </p:nvCxnSpPr>
        <p:spPr>
          <a:xfrm>
            <a:off x="5916406" y="5517621"/>
            <a:ext cx="406182" cy="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Box 3"/>
          <p:cNvSpPr txBox="1"/>
          <p:nvPr/>
        </p:nvSpPr>
        <p:spPr>
          <a:xfrm>
            <a:off x="551783" y="1254385"/>
            <a:ext cx="3750908" cy="9848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 smtClean="0"/>
              <a:t>Curr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/>
              <a:t>Minimal logging at Integration Lay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/>
              <a:t>Splunk accuracy issu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/>
              <a:t>BPM not integrated with Splunk</a:t>
            </a:r>
          </a:p>
        </p:txBody>
      </p:sp>
      <p:sp>
        <p:nvSpPr>
          <p:cNvPr id="55" name="TextBox 54"/>
          <p:cNvSpPr txBox="1"/>
          <p:nvPr/>
        </p:nvSpPr>
        <p:spPr>
          <a:xfrm>
            <a:off x="4781874" y="1254385"/>
            <a:ext cx="3750908" cy="9848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 smtClean="0"/>
              <a:t>Futur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/>
              <a:t>Improved logging at Integration Lay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/>
              <a:t>Splunk accuracy issues resolve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BPM </a:t>
            </a:r>
            <a:r>
              <a:rPr lang="en-US" sz="1400" dirty="0" smtClean="0"/>
              <a:t>integrated </a:t>
            </a:r>
            <a:r>
              <a:rPr lang="en-US" sz="1400" dirty="0"/>
              <a:t>with Splunk</a:t>
            </a:r>
          </a:p>
        </p:txBody>
      </p:sp>
      <p:cxnSp>
        <p:nvCxnSpPr>
          <p:cNvPr id="24" name="Straight Arrow Connector 23"/>
          <p:cNvCxnSpPr>
            <a:stCxn id="64" idx="0"/>
            <a:endCxn id="124" idx="3"/>
          </p:cNvCxnSpPr>
          <p:nvPr/>
        </p:nvCxnSpPr>
        <p:spPr>
          <a:xfrm flipV="1">
            <a:off x="6731212" y="3434051"/>
            <a:ext cx="4593" cy="143149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Rectangle 75"/>
          <p:cNvSpPr/>
          <p:nvPr/>
        </p:nvSpPr>
        <p:spPr>
          <a:xfrm>
            <a:off x="913708" y="5338551"/>
            <a:ext cx="833718" cy="353683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>
                <a:solidFill>
                  <a:schemeClr val="tx1"/>
                </a:solidFill>
              </a:rPr>
              <a:t>Mainframe</a:t>
            </a:r>
          </a:p>
          <a:p>
            <a:pPr algn="ctr"/>
            <a:r>
              <a:rPr lang="en-US" sz="1000" dirty="0" smtClean="0">
                <a:solidFill>
                  <a:schemeClr val="tx1"/>
                </a:solidFill>
              </a:rPr>
              <a:t>MQ</a:t>
            </a:r>
          </a:p>
        </p:txBody>
      </p:sp>
      <p:sp>
        <p:nvSpPr>
          <p:cNvPr id="78" name="Rectangle 77"/>
          <p:cNvSpPr/>
          <p:nvPr/>
        </p:nvSpPr>
        <p:spPr>
          <a:xfrm>
            <a:off x="5147488" y="4216184"/>
            <a:ext cx="833719" cy="355824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>
                <a:solidFill>
                  <a:schemeClr val="tx1"/>
                </a:solidFill>
              </a:rPr>
              <a:t>Midrange</a:t>
            </a:r>
          </a:p>
          <a:p>
            <a:pPr algn="ctr"/>
            <a:r>
              <a:rPr lang="en-US" sz="1000" dirty="0" smtClean="0">
                <a:solidFill>
                  <a:schemeClr val="tx1"/>
                </a:solidFill>
              </a:rPr>
              <a:t>MQ</a:t>
            </a:r>
          </a:p>
        </p:txBody>
      </p:sp>
      <p:sp>
        <p:nvSpPr>
          <p:cNvPr id="80" name="Rectangle 79"/>
          <p:cNvSpPr/>
          <p:nvPr/>
        </p:nvSpPr>
        <p:spPr>
          <a:xfrm>
            <a:off x="5141550" y="5340779"/>
            <a:ext cx="839657" cy="353683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>
                <a:solidFill>
                  <a:schemeClr val="tx1"/>
                </a:solidFill>
              </a:rPr>
              <a:t>Mainframe</a:t>
            </a:r>
          </a:p>
          <a:p>
            <a:pPr algn="ctr"/>
            <a:r>
              <a:rPr lang="en-US" sz="1000" dirty="0" smtClean="0">
                <a:solidFill>
                  <a:schemeClr val="tx1"/>
                </a:solidFill>
              </a:rPr>
              <a:t>MQ</a:t>
            </a:r>
          </a:p>
        </p:txBody>
      </p:sp>
      <p:cxnSp>
        <p:nvCxnSpPr>
          <p:cNvPr id="31" name="Straight Arrow Connector 30"/>
          <p:cNvCxnSpPr>
            <a:stCxn id="40" idx="2"/>
            <a:endCxn id="76" idx="0"/>
          </p:cNvCxnSpPr>
          <p:nvPr/>
        </p:nvCxnSpPr>
        <p:spPr>
          <a:xfrm>
            <a:off x="1330567" y="4572005"/>
            <a:ext cx="0" cy="766546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Arrow Connector 40"/>
          <p:cNvCxnSpPr>
            <a:stCxn id="78" idx="2"/>
            <a:endCxn id="80" idx="0"/>
          </p:cNvCxnSpPr>
          <p:nvPr/>
        </p:nvCxnSpPr>
        <p:spPr>
          <a:xfrm flipH="1">
            <a:off x="5561379" y="4572008"/>
            <a:ext cx="2969" cy="768771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615598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mprovement#1a: </a:t>
            </a:r>
            <a:r>
              <a:rPr lang="en-US" dirty="0"/>
              <a:t>Add Logging/Analytics </a:t>
            </a:r>
            <a:r>
              <a:rPr lang="en-US" dirty="0" smtClean="0"/>
              <a:t>to Integration Layer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OMPANY CONFIDENTIAL  |  FOR INTERNAL USE ONLY  |  DO NOT COPY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2DCB2D-F3A1-47AC-A248-15826C4C808C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647700" y="1302709"/>
            <a:ext cx="7943850" cy="32316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700" u="sng" dirty="0"/>
              <a:t>What is the business problem that we are trying to solve?</a:t>
            </a:r>
            <a:endParaRPr lang="en-US" sz="1700" dirty="0"/>
          </a:p>
          <a:p>
            <a:pPr marL="285750" indent="-285750" fontAlgn="ctr">
              <a:buFont typeface="Arial" panose="020B0604020202020204" pitchFamily="34" charset="0"/>
              <a:buChar char="•"/>
            </a:pPr>
            <a:r>
              <a:rPr lang="en-US" sz="1700" dirty="0" smtClean="0"/>
              <a:t>There are multiple stages in the Accum ODS transactions and the transaction counts at each stage are inaccurate and we do not have an E2E view of transaction flow.</a:t>
            </a:r>
          </a:p>
          <a:p>
            <a:pPr lvl="1" fontAlgn="ctr"/>
            <a:endParaRPr lang="en-US" sz="1700" dirty="0" smtClean="0"/>
          </a:p>
          <a:p>
            <a:pPr algn="just" fontAlgn="ctr"/>
            <a:r>
              <a:rPr lang="en-US" sz="1700" u="sng" dirty="0" smtClean="0"/>
              <a:t>Work done to date</a:t>
            </a:r>
          </a:p>
          <a:p>
            <a:pPr marL="285750" indent="-285750" fontAlgn="ctr">
              <a:buFont typeface="Arial" panose="020B0604020202020204" pitchFamily="34" charset="0"/>
              <a:buChar char="•"/>
            </a:pPr>
            <a:r>
              <a:rPr lang="en-US" sz="1700" dirty="0" smtClean="0"/>
              <a:t>During 2014 and early 2015 we worked with the DataPower team and determined that the SPLUNK logs are not accurate for all transactions (not only the Accum ODS)</a:t>
            </a:r>
          </a:p>
          <a:p>
            <a:pPr marL="742950" lvl="1" indent="-285750" fontAlgn="ctr">
              <a:buFont typeface="Arial" panose="020B0604020202020204" pitchFamily="34" charset="0"/>
              <a:buChar char="•"/>
            </a:pPr>
            <a:r>
              <a:rPr lang="en-US" sz="1700" dirty="0" smtClean="0"/>
              <a:t>Transaction counts from SPLUNK latency logs do not match SPLUNK trace logs</a:t>
            </a:r>
          </a:p>
          <a:p>
            <a:pPr marL="742950" lvl="1" indent="-285750" fontAlgn="ctr">
              <a:buFont typeface="Arial" panose="020B0604020202020204" pitchFamily="34" charset="0"/>
              <a:buChar char="•"/>
            </a:pPr>
            <a:r>
              <a:rPr lang="en-US" sz="1700" dirty="0" smtClean="0"/>
              <a:t>Transaction counts from SPLUNK latency and trace logs do not match IMS counts</a:t>
            </a:r>
          </a:p>
          <a:p>
            <a:pPr marL="742950" lvl="1" indent="-285750" fontAlgn="ctr">
              <a:buFont typeface="Arial" panose="020B0604020202020204" pitchFamily="34" charset="0"/>
              <a:buChar char="•"/>
            </a:pPr>
            <a:r>
              <a:rPr lang="en-US" sz="1700" dirty="0" smtClean="0"/>
              <a:t>SPLUNK does not gather logging info from BPM servers</a:t>
            </a:r>
          </a:p>
          <a:p>
            <a:pPr marL="742950" lvl="1" indent="-285750" fontAlgn="ctr">
              <a:buFont typeface="Arial" panose="020B0604020202020204" pitchFamily="34" charset="0"/>
              <a:buChar char="•"/>
            </a:pPr>
            <a:r>
              <a:rPr lang="en-US" sz="1700" dirty="0" smtClean="0"/>
              <a:t>SPLUNK uses UDP for transport, which does not guarantee delivery</a:t>
            </a:r>
          </a:p>
        </p:txBody>
      </p:sp>
    </p:spTree>
    <p:extLst>
      <p:ext uri="{BB962C8B-B14F-4D97-AF65-F5344CB8AC3E}">
        <p14:creationId xmlns:p14="http://schemas.microsoft.com/office/powerpoint/2010/main" val="27170475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mprovement#1a: Add Logging/Analytics to Integration </a:t>
            </a:r>
            <a:r>
              <a:rPr lang="en-US" dirty="0" smtClean="0"/>
              <a:t>Layer cont.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OMPANY CONFIDENTIAL  |  FOR INTERNAL USE ONLY  |  DO NOT COPY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2DCB2D-F3A1-47AC-A248-15826C4C808C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647700" y="1302709"/>
            <a:ext cx="7943850" cy="429348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700" u="sng" dirty="0" smtClean="0"/>
              <a:t>Work to be done:</a:t>
            </a:r>
            <a:endParaRPr lang="en-US" sz="1700" u="sng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700" dirty="0" smtClean="0"/>
              <a:t>Add trace logs to BPM so that BPM we could have an end-to-end view of a transaction through the Integration Lay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700" dirty="0" smtClean="0"/>
              <a:t>Change Accum ODS header format to be the format that Splunk is expect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700" dirty="0" smtClean="0"/>
              <a:t>Change logging protocol from UDP to TCP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700" dirty="0" smtClean="0"/>
              <a:t>Investigate where there are problems with the logging applications</a:t>
            </a:r>
          </a:p>
          <a:p>
            <a:endParaRPr lang="en-US" sz="17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700" u="sng" dirty="0" smtClean="0"/>
              <a:t>Strategy for Work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700" dirty="0" smtClean="0"/>
              <a:t>Most of this work must be done by the DataPower team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700" dirty="0" smtClean="0"/>
              <a:t>We must identify a project that can cover these change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700" dirty="0" smtClean="0"/>
              <a:t>Our team can advocate for changes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en-US" sz="1700" dirty="0" smtClean="0"/>
              <a:t>Navaneeth at an executive level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en-US" sz="1700" dirty="0" smtClean="0"/>
              <a:t>Kevin at a technical level</a:t>
            </a:r>
          </a:p>
          <a:p>
            <a:endParaRPr lang="en-US" sz="1700" u="sng" dirty="0"/>
          </a:p>
          <a:p>
            <a:endParaRPr lang="en-US" sz="1700" u="sng" dirty="0" smtClean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09483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mprovement #1b: Add Logging/Analytics to ODS</a:t>
            </a:r>
            <a:br>
              <a:rPr lang="en-US" dirty="0" smtClean="0"/>
            </a:br>
            <a:r>
              <a:rPr lang="en-US" dirty="0" smtClean="0"/>
              <a:t>Integration Layer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OMPANY CONFIDENTIAL  |  FOR INTERNAL USE ONLY  |  DO NOT COPY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2DCB2D-F3A1-47AC-A248-15826C4C808C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33" name="Rectangle 32"/>
          <p:cNvSpPr/>
          <p:nvPr/>
        </p:nvSpPr>
        <p:spPr>
          <a:xfrm>
            <a:off x="427519" y="4795409"/>
            <a:ext cx="3476936" cy="1290081"/>
          </a:xfrm>
          <a:prstGeom prst="rect">
            <a:avLst/>
          </a:prstGeom>
          <a:solidFill>
            <a:schemeClr val="accent5"/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 smtClean="0">
              <a:solidFill>
                <a:schemeClr val="tx2"/>
              </a:solidFill>
            </a:endParaRPr>
          </a:p>
        </p:txBody>
      </p:sp>
      <p:sp>
        <p:nvSpPr>
          <p:cNvPr id="34" name="Rectangle 33"/>
          <p:cNvSpPr/>
          <p:nvPr/>
        </p:nvSpPr>
        <p:spPr>
          <a:xfrm>
            <a:off x="427519" y="2677983"/>
            <a:ext cx="3479470" cy="1989267"/>
          </a:xfrm>
          <a:prstGeom prst="rect">
            <a:avLst/>
          </a:prstGeom>
          <a:solidFill>
            <a:schemeClr val="accent5"/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dirty="0" err="1" smtClean="0">
              <a:solidFill>
                <a:schemeClr val="tx2"/>
              </a:solidFill>
            </a:endParaRPr>
          </a:p>
        </p:txBody>
      </p:sp>
      <p:sp>
        <p:nvSpPr>
          <p:cNvPr id="36" name="Rectangle 35"/>
          <p:cNvSpPr/>
          <p:nvPr/>
        </p:nvSpPr>
        <p:spPr>
          <a:xfrm>
            <a:off x="3050433" y="2186465"/>
            <a:ext cx="715992" cy="353683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>
                <a:solidFill>
                  <a:schemeClr val="tx1"/>
                </a:solidFill>
              </a:rPr>
              <a:t>Consumer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" name="Rectangle 36"/>
          <p:cNvSpPr/>
          <p:nvPr/>
        </p:nvSpPr>
        <p:spPr>
          <a:xfrm>
            <a:off x="3015928" y="3575721"/>
            <a:ext cx="785171" cy="353683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>
                <a:solidFill>
                  <a:schemeClr val="tx1"/>
                </a:solidFill>
              </a:rPr>
              <a:t>DataPower</a:t>
            </a:r>
          </a:p>
          <a:p>
            <a:pPr algn="ctr"/>
            <a:r>
              <a:rPr lang="en-US" sz="1000" dirty="0" smtClean="0">
                <a:solidFill>
                  <a:schemeClr val="tx1"/>
                </a:solidFill>
              </a:rPr>
              <a:t>Gateway</a:t>
            </a:r>
          </a:p>
        </p:txBody>
      </p:sp>
      <p:sp>
        <p:nvSpPr>
          <p:cNvPr id="38" name="Rectangle 37"/>
          <p:cNvSpPr/>
          <p:nvPr/>
        </p:nvSpPr>
        <p:spPr>
          <a:xfrm>
            <a:off x="1833495" y="3576957"/>
            <a:ext cx="817247" cy="353683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>
                <a:solidFill>
                  <a:schemeClr val="tx1"/>
                </a:solidFill>
              </a:rPr>
              <a:t>BPM Servers</a:t>
            </a:r>
          </a:p>
        </p:txBody>
      </p:sp>
      <p:sp>
        <p:nvSpPr>
          <p:cNvPr id="39" name="Rectangle 38"/>
          <p:cNvSpPr/>
          <p:nvPr/>
        </p:nvSpPr>
        <p:spPr>
          <a:xfrm>
            <a:off x="652457" y="3577421"/>
            <a:ext cx="833719" cy="353683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>
                <a:solidFill>
                  <a:schemeClr val="tx1"/>
                </a:solidFill>
              </a:rPr>
              <a:t>DataPower</a:t>
            </a:r>
          </a:p>
          <a:p>
            <a:pPr algn="ctr"/>
            <a:r>
              <a:rPr lang="en-US" sz="1000" dirty="0" smtClean="0">
                <a:solidFill>
                  <a:schemeClr val="tx1"/>
                </a:solidFill>
              </a:rPr>
              <a:t>DAL</a:t>
            </a:r>
          </a:p>
        </p:txBody>
      </p:sp>
      <p:sp>
        <p:nvSpPr>
          <p:cNvPr id="40" name="Rectangle 39"/>
          <p:cNvSpPr/>
          <p:nvPr/>
        </p:nvSpPr>
        <p:spPr>
          <a:xfrm>
            <a:off x="652458" y="4179465"/>
            <a:ext cx="833718" cy="39254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>
                <a:solidFill>
                  <a:schemeClr val="tx1"/>
                </a:solidFill>
              </a:rPr>
              <a:t>Midrange</a:t>
            </a:r>
          </a:p>
          <a:p>
            <a:pPr algn="ctr"/>
            <a:r>
              <a:rPr lang="en-US" sz="1000" dirty="0" smtClean="0">
                <a:solidFill>
                  <a:schemeClr val="tx1"/>
                </a:solidFill>
              </a:rPr>
              <a:t>MQ</a:t>
            </a:r>
          </a:p>
        </p:txBody>
      </p:sp>
      <p:cxnSp>
        <p:nvCxnSpPr>
          <p:cNvPr id="42" name="Straight Arrow Connector 41"/>
          <p:cNvCxnSpPr>
            <a:stCxn id="36" idx="2"/>
            <a:endCxn id="37" idx="0"/>
          </p:cNvCxnSpPr>
          <p:nvPr/>
        </p:nvCxnSpPr>
        <p:spPr>
          <a:xfrm>
            <a:off x="3408429" y="2540148"/>
            <a:ext cx="85" cy="1035573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Arrow Connector 42"/>
          <p:cNvCxnSpPr>
            <a:stCxn id="37" idx="1"/>
            <a:endCxn id="38" idx="3"/>
          </p:cNvCxnSpPr>
          <p:nvPr/>
        </p:nvCxnSpPr>
        <p:spPr>
          <a:xfrm flipH="1">
            <a:off x="2650742" y="3752563"/>
            <a:ext cx="365186" cy="1236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Arrow Connector 43"/>
          <p:cNvCxnSpPr>
            <a:stCxn id="38" idx="1"/>
            <a:endCxn id="39" idx="3"/>
          </p:cNvCxnSpPr>
          <p:nvPr/>
        </p:nvCxnSpPr>
        <p:spPr>
          <a:xfrm flipH="1">
            <a:off x="1486176" y="3753799"/>
            <a:ext cx="347319" cy="464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Arrow Connector 44"/>
          <p:cNvCxnSpPr>
            <a:stCxn id="39" idx="2"/>
            <a:endCxn id="40" idx="0"/>
          </p:cNvCxnSpPr>
          <p:nvPr/>
        </p:nvCxnSpPr>
        <p:spPr>
          <a:xfrm>
            <a:off x="1069317" y="3931104"/>
            <a:ext cx="0" cy="248361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Box 45"/>
          <p:cNvSpPr txBox="1"/>
          <p:nvPr/>
        </p:nvSpPr>
        <p:spPr>
          <a:xfrm>
            <a:off x="374082" y="2700935"/>
            <a:ext cx="178917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/>
              <a:t>ODS Integration Layer</a:t>
            </a:r>
            <a:endParaRPr lang="en-US" sz="1400" dirty="0"/>
          </a:p>
        </p:txBody>
      </p:sp>
      <p:sp>
        <p:nvSpPr>
          <p:cNvPr id="47" name="Rectangle 46"/>
          <p:cNvSpPr/>
          <p:nvPr/>
        </p:nvSpPr>
        <p:spPr>
          <a:xfrm>
            <a:off x="1833494" y="5017926"/>
            <a:ext cx="817247" cy="353683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>
                <a:solidFill>
                  <a:schemeClr val="tx1"/>
                </a:solidFill>
              </a:rPr>
              <a:t>IMS</a:t>
            </a:r>
          </a:p>
        </p:txBody>
      </p:sp>
      <p:sp>
        <p:nvSpPr>
          <p:cNvPr id="48" name="TextBox 47"/>
          <p:cNvSpPr txBox="1"/>
          <p:nvPr/>
        </p:nvSpPr>
        <p:spPr>
          <a:xfrm>
            <a:off x="445332" y="5777713"/>
            <a:ext cx="12291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/>
              <a:t>CA Mainframe</a:t>
            </a:r>
            <a:endParaRPr lang="en-US" sz="1400" dirty="0"/>
          </a:p>
        </p:txBody>
      </p:sp>
      <p:sp>
        <p:nvSpPr>
          <p:cNvPr id="49" name="Can 48"/>
          <p:cNvSpPr/>
          <p:nvPr/>
        </p:nvSpPr>
        <p:spPr>
          <a:xfrm>
            <a:off x="3130845" y="4939931"/>
            <a:ext cx="555167" cy="493116"/>
          </a:xfrm>
          <a:prstGeom prst="can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>
                <a:solidFill>
                  <a:schemeClr val="tx1"/>
                </a:solidFill>
              </a:rPr>
              <a:t>ODS</a:t>
            </a:r>
          </a:p>
        </p:txBody>
      </p:sp>
      <p:cxnSp>
        <p:nvCxnSpPr>
          <p:cNvPr id="50" name="Straight Arrow Connector 49"/>
          <p:cNvCxnSpPr>
            <a:endCxn id="47" idx="1"/>
          </p:cNvCxnSpPr>
          <p:nvPr/>
        </p:nvCxnSpPr>
        <p:spPr>
          <a:xfrm>
            <a:off x="1408982" y="5186489"/>
            <a:ext cx="424512" cy="8279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Arrow Connector 50"/>
          <p:cNvCxnSpPr>
            <a:stCxn id="47" idx="3"/>
            <a:endCxn id="49" idx="2"/>
          </p:cNvCxnSpPr>
          <p:nvPr/>
        </p:nvCxnSpPr>
        <p:spPr>
          <a:xfrm flipV="1">
            <a:off x="2650741" y="5186489"/>
            <a:ext cx="480104" cy="8279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Rectangle 58"/>
          <p:cNvSpPr/>
          <p:nvPr/>
        </p:nvSpPr>
        <p:spPr>
          <a:xfrm>
            <a:off x="4453253" y="4805915"/>
            <a:ext cx="3431969" cy="1279575"/>
          </a:xfrm>
          <a:prstGeom prst="rect">
            <a:avLst/>
          </a:prstGeom>
          <a:solidFill>
            <a:schemeClr val="accent5"/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 smtClean="0">
              <a:solidFill>
                <a:schemeClr val="tx2"/>
              </a:solidFill>
            </a:endParaRPr>
          </a:p>
        </p:txBody>
      </p:sp>
      <p:sp>
        <p:nvSpPr>
          <p:cNvPr id="60" name="Rectangle 59"/>
          <p:cNvSpPr/>
          <p:nvPr/>
        </p:nvSpPr>
        <p:spPr>
          <a:xfrm>
            <a:off x="4453253" y="2677983"/>
            <a:ext cx="3431969" cy="1989267"/>
          </a:xfrm>
          <a:prstGeom prst="rect">
            <a:avLst/>
          </a:prstGeom>
          <a:solidFill>
            <a:schemeClr val="accent5"/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dirty="0" err="1" smtClean="0">
              <a:solidFill>
                <a:schemeClr val="tx2"/>
              </a:solidFill>
            </a:endParaRPr>
          </a:p>
        </p:txBody>
      </p:sp>
      <p:sp>
        <p:nvSpPr>
          <p:cNvPr id="62" name="Rectangle 61"/>
          <p:cNvSpPr/>
          <p:nvPr/>
        </p:nvSpPr>
        <p:spPr>
          <a:xfrm>
            <a:off x="7024977" y="2186465"/>
            <a:ext cx="715992" cy="353683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>
                <a:solidFill>
                  <a:schemeClr val="tx1"/>
                </a:solidFill>
              </a:rPr>
              <a:t>Consumer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3" name="Rectangle 62"/>
          <p:cNvSpPr/>
          <p:nvPr/>
        </p:nvSpPr>
        <p:spPr>
          <a:xfrm>
            <a:off x="6982521" y="3575964"/>
            <a:ext cx="785171" cy="353683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>
                <a:solidFill>
                  <a:schemeClr val="tx1"/>
                </a:solidFill>
              </a:rPr>
              <a:t>DataPower</a:t>
            </a:r>
          </a:p>
          <a:p>
            <a:pPr algn="ctr"/>
            <a:r>
              <a:rPr lang="en-US" sz="1000" dirty="0" smtClean="0">
                <a:solidFill>
                  <a:schemeClr val="tx1"/>
                </a:solidFill>
              </a:rPr>
              <a:t>Gateway</a:t>
            </a:r>
          </a:p>
        </p:txBody>
      </p:sp>
      <p:sp>
        <p:nvSpPr>
          <p:cNvPr id="64" name="Rectangle 63"/>
          <p:cNvSpPr/>
          <p:nvPr/>
        </p:nvSpPr>
        <p:spPr>
          <a:xfrm>
            <a:off x="5800088" y="3577200"/>
            <a:ext cx="817247" cy="353683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>
                <a:solidFill>
                  <a:schemeClr val="tx1"/>
                </a:solidFill>
              </a:rPr>
              <a:t>BPM Servers</a:t>
            </a:r>
          </a:p>
        </p:txBody>
      </p:sp>
      <p:sp>
        <p:nvSpPr>
          <p:cNvPr id="65" name="Rectangle 64"/>
          <p:cNvSpPr/>
          <p:nvPr/>
        </p:nvSpPr>
        <p:spPr>
          <a:xfrm>
            <a:off x="4619050" y="3577664"/>
            <a:ext cx="833719" cy="353683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>
                <a:solidFill>
                  <a:schemeClr val="tx1"/>
                </a:solidFill>
              </a:rPr>
              <a:t>DataPower</a:t>
            </a:r>
          </a:p>
          <a:p>
            <a:pPr algn="ctr"/>
            <a:r>
              <a:rPr lang="en-US" sz="1000" dirty="0" smtClean="0">
                <a:solidFill>
                  <a:schemeClr val="tx1"/>
                </a:solidFill>
              </a:rPr>
              <a:t>DAL</a:t>
            </a:r>
          </a:p>
        </p:txBody>
      </p:sp>
      <p:cxnSp>
        <p:nvCxnSpPr>
          <p:cNvPr id="68" name="Straight Arrow Connector 67"/>
          <p:cNvCxnSpPr>
            <a:stCxn id="62" idx="2"/>
            <a:endCxn id="63" idx="0"/>
          </p:cNvCxnSpPr>
          <p:nvPr/>
        </p:nvCxnSpPr>
        <p:spPr>
          <a:xfrm flipH="1">
            <a:off x="7375107" y="2540148"/>
            <a:ext cx="7866" cy="1035816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Straight Arrow Connector 68"/>
          <p:cNvCxnSpPr>
            <a:stCxn id="63" idx="1"/>
            <a:endCxn id="64" idx="3"/>
          </p:cNvCxnSpPr>
          <p:nvPr/>
        </p:nvCxnSpPr>
        <p:spPr>
          <a:xfrm flipH="1">
            <a:off x="6617335" y="3752806"/>
            <a:ext cx="365186" cy="1236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Straight Arrow Connector 69"/>
          <p:cNvCxnSpPr>
            <a:stCxn id="64" idx="1"/>
            <a:endCxn id="65" idx="3"/>
          </p:cNvCxnSpPr>
          <p:nvPr/>
        </p:nvCxnSpPr>
        <p:spPr>
          <a:xfrm flipH="1">
            <a:off x="5452769" y="3754042"/>
            <a:ext cx="347319" cy="464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TextBox 71"/>
          <p:cNvSpPr txBox="1"/>
          <p:nvPr/>
        </p:nvSpPr>
        <p:spPr>
          <a:xfrm>
            <a:off x="4478827" y="2673699"/>
            <a:ext cx="178917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/>
              <a:t>ODS Integration Layer</a:t>
            </a:r>
            <a:endParaRPr lang="en-US" sz="1400" dirty="0"/>
          </a:p>
        </p:txBody>
      </p:sp>
      <p:sp>
        <p:nvSpPr>
          <p:cNvPr id="73" name="Rectangle 72"/>
          <p:cNvSpPr/>
          <p:nvPr/>
        </p:nvSpPr>
        <p:spPr>
          <a:xfrm>
            <a:off x="5800088" y="5020154"/>
            <a:ext cx="817247" cy="353683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>
                <a:solidFill>
                  <a:schemeClr val="tx1"/>
                </a:solidFill>
              </a:rPr>
              <a:t>IMS</a:t>
            </a:r>
          </a:p>
        </p:txBody>
      </p:sp>
      <p:sp>
        <p:nvSpPr>
          <p:cNvPr id="74" name="TextBox 73"/>
          <p:cNvSpPr txBox="1"/>
          <p:nvPr/>
        </p:nvSpPr>
        <p:spPr>
          <a:xfrm>
            <a:off x="4671398" y="5771359"/>
            <a:ext cx="12291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/>
              <a:t>CA Mainframe</a:t>
            </a:r>
            <a:endParaRPr lang="en-US" sz="1400" dirty="0"/>
          </a:p>
        </p:txBody>
      </p:sp>
      <p:sp>
        <p:nvSpPr>
          <p:cNvPr id="75" name="Can 74"/>
          <p:cNvSpPr/>
          <p:nvPr/>
        </p:nvSpPr>
        <p:spPr>
          <a:xfrm>
            <a:off x="7042190" y="4952586"/>
            <a:ext cx="673699" cy="493116"/>
          </a:xfrm>
          <a:prstGeom prst="can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>
                <a:solidFill>
                  <a:schemeClr val="tx1"/>
                </a:solidFill>
              </a:rPr>
              <a:t>ODS</a:t>
            </a:r>
          </a:p>
        </p:txBody>
      </p:sp>
      <p:cxnSp>
        <p:nvCxnSpPr>
          <p:cNvPr id="77" name="Straight Arrow Connector 76"/>
          <p:cNvCxnSpPr>
            <a:stCxn id="73" idx="3"/>
            <a:endCxn id="75" idx="2"/>
          </p:cNvCxnSpPr>
          <p:nvPr/>
        </p:nvCxnSpPr>
        <p:spPr>
          <a:xfrm>
            <a:off x="6617335" y="5196996"/>
            <a:ext cx="424855" cy="2148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8" name="Can 97"/>
          <p:cNvSpPr/>
          <p:nvPr/>
        </p:nvSpPr>
        <p:spPr>
          <a:xfrm>
            <a:off x="7046123" y="5524801"/>
            <a:ext cx="673699" cy="493116"/>
          </a:xfrm>
          <a:prstGeom prst="can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>
                <a:solidFill>
                  <a:schemeClr val="tx1"/>
                </a:solidFill>
              </a:rPr>
              <a:t>Analytics DB</a:t>
            </a:r>
          </a:p>
        </p:txBody>
      </p:sp>
      <p:cxnSp>
        <p:nvCxnSpPr>
          <p:cNvPr id="104" name="Elbow Connector 103"/>
          <p:cNvCxnSpPr>
            <a:stCxn id="73" idx="2"/>
            <a:endCxn id="98" idx="2"/>
          </p:cNvCxnSpPr>
          <p:nvPr/>
        </p:nvCxnSpPr>
        <p:spPr>
          <a:xfrm rot="16200000" flipH="1">
            <a:off x="6428656" y="5153892"/>
            <a:ext cx="397522" cy="837411"/>
          </a:xfrm>
          <a:prstGeom prst="bentConnector2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7" name="Can 106"/>
          <p:cNvSpPr/>
          <p:nvPr/>
        </p:nvSpPr>
        <p:spPr>
          <a:xfrm>
            <a:off x="1889153" y="2982570"/>
            <a:ext cx="686206" cy="493116"/>
          </a:xfrm>
          <a:prstGeom prst="can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>
                <a:solidFill>
                  <a:schemeClr val="tx1"/>
                </a:solidFill>
              </a:rPr>
              <a:t>Splunk</a:t>
            </a:r>
          </a:p>
          <a:p>
            <a:pPr algn="ctr"/>
            <a:r>
              <a:rPr lang="en-US" sz="1000" dirty="0" smtClean="0">
                <a:solidFill>
                  <a:schemeClr val="tx1"/>
                </a:solidFill>
              </a:rPr>
              <a:t>Logging</a:t>
            </a:r>
          </a:p>
        </p:txBody>
      </p:sp>
      <p:cxnSp>
        <p:nvCxnSpPr>
          <p:cNvPr id="116" name="Elbow Connector 115"/>
          <p:cNvCxnSpPr>
            <a:stCxn id="39" idx="0"/>
            <a:endCxn id="107" idx="2"/>
          </p:cNvCxnSpPr>
          <p:nvPr/>
        </p:nvCxnSpPr>
        <p:spPr>
          <a:xfrm rot="5400000" flipH="1" flipV="1">
            <a:off x="1305089" y="2993357"/>
            <a:ext cx="348293" cy="819836"/>
          </a:xfrm>
          <a:prstGeom prst="bentConnector2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4" name="Can 123"/>
          <p:cNvSpPr/>
          <p:nvPr/>
        </p:nvSpPr>
        <p:spPr>
          <a:xfrm>
            <a:off x="5870201" y="2940935"/>
            <a:ext cx="686208" cy="493116"/>
          </a:xfrm>
          <a:prstGeom prst="can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>
                <a:solidFill>
                  <a:schemeClr val="tx1"/>
                </a:solidFill>
              </a:rPr>
              <a:t>Splunk</a:t>
            </a:r>
          </a:p>
          <a:p>
            <a:pPr algn="ctr"/>
            <a:r>
              <a:rPr lang="en-US" sz="1000" dirty="0" smtClean="0">
                <a:solidFill>
                  <a:schemeClr val="tx1"/>
                </a:solidFill>
              </a:rPr>
              <a:t>Logging</a:t>
            </a:r>
          </a:p>
        </p:txBody>
      </p:sp>
      <p:cxnSp>
        <p:nvCxnSpPr>
          <p:cNvPr id="129" name="Elbow Connector 128"/>
          <p:cNvCxnSpPr>
            <a:endCxn id="107" idx="4"/>
          </p:cNvCxnSpPr>
          <p:nvPr/>
        </p:nvCxnSpPr>
        <p:spPr>
          <a:xfrm rot="10800000">
            <a:off x="2575360" y="3229129"/>
            <a:ext cx="635901" cy="346595"/>
          </a:xfrm>
          <a:prstGeom prst="bentConnector3">
            <a:avLst>
              <a:gd name="adj1" fmla="val -1266"/>
            </a:avLst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2" name="Elbow Connector 131"/>
          <p:cNvCxnSpPr/>
          <p:nvPr/>
        </p:nvCxnSpPr>
        <p:spPr>
          <a:xfrm rot="10800000">
            <a:off x="6545777" y="3229129"/>
            <a:ext cx="572927" cy="346593"/>
          </a:xfrm>
          <a:prstGeom prst="bentConnector3">
            <a:avLst>
              <a:gd name="adj1" fmla="val 38"/>
            </a:avLst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5" name="Elbow Connector 134"/>
          <p:cNvCxnSpPr>
            <a:stCxn id="65" idx="0"/>
            <a:endCxn id="124" idx="2"/>
          </p:cNvCxnSpPr>
          <p:nvPr/>
        </p:nvCxnSpPr>
        <p:spPr>
          <a:xfrm rot="5400000" flipH="1" flipV="1">
            <a:off x="5257970" y="2965434"/>
            <a:ext cx="390171" cy="834291"/>
          </a:xfrm>
          <a:prstGeom prst="bentConnector2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3" name="Straight Arrow Connector 152"/>
          <p:cNvCxnSpPr>
            <a:endCxn id="78" idx="0"/>
          </p:cNvCxnSpPr>
          <p:nvPr/>
        </p:nvCxnSpPr>
        <p:spPr>
          <a:xfrm>
            <a:off x="5040363" y="3930640"/>
            <a:ext cx="1485" cy="285544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5" name="Straight Arrow Connector 154"/>
          <p:cNvCxnSpPr>
            <a:endCxn id="73" idx="1"/>
          </p:cNvCxnSpPr>
          <p:nvPr/>
        </p:nvCxnSpPr>
        <p:spPr>
          <a:xfrm>
            <a:off x="5393906" y="5196996"/>
            <a:ext cx="406182" cy="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Box 3"/>
          <p:cNvSpPr txBox="1"/>
          <p:nvPr/>
        </p:nvSpPr>
        <p:spPr>
          <a:xfrm>
            <a:off x="551783" y="1254385"/>
            <a:ext cx="3750908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 smtClean="0"/>
              <a:t>Curr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/>
              <a:t>No logging at ODS backen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/>
              <a:t>Only successful Accum updates captured </a:t>
            </a:r>
            <a:endParaRPr lang="en-US" sz="1400" dirty="0"/>
          </a:p>
        </p:txBody>
      </p:sp>
      <p:sp>
        <p:nvSpPr>
          <p:cNvPr id="55" name="TextBox 54"/>
          <p:cNvSpPr txBox="1"/>
          <p:nvPr/>
        </p:nvSpPr>
        <p:spPr>
          <a:xfrm>
            <a:off x="4502577" y="1295461"/>
            <a:ext cx="3750908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 smtClean="0"/>
              <a:t>Futur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/>
              <a:t>ODS Logging and Analytics DB at backen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/>
              <a:t>Captures real-time and batch metrics</a:t>
            </a:r>
          </a:p>
        </p:txBody>
      </p:sp>
      <p:cxnSp>
        <p:nvCxnSpPr>
          <p:cNvPr id="24" name="Straight Arrow Connector 23"/>
          <p:cNvCxnSpPr>
            <a:stCxn id="64" idx="0"/>
            <a:endCxn id="124" idx="3"/>
          </p:cNvCxnSpPr>
          <p:nvPr/>
        </p:nvCxnSpPr>
        <p:spPr>
          <a:xfrm flipV="1">
            <a:off x="6208712" y="3434051"/>
            <a:ext cx="4593" cy="143149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Rectangle 75"/>
          <p:cNvSpPr/>
          <p:nvPr/>
        </p:nvSpPr>
        <p:spPr>
          <a:xfrm>
            <a:off x="652458" y="5017926"/>
            <a:ext cx="833718" cy="353683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>
                <a:solidFill>
                  <a:schemeClr val="tx1"/>
                </a:solidFill>
              </a:rPr>
              <a:t>Mainframe</a:t>
            </a:r>
          </a:p>
          <a:p>
            <a:pPr algn="ctr"/>
            <a:r>
              <a:rPr lang="en-US" sz="1000" dirty="0" smtClean="0">
                <a:solidFill>
                  <a:schemeClr val="tx1"/>
                </a:solidFill>
              </a:rPr>
              <a:t>MQ</a:t>
            </a:r>
          </a:p>
        </p:txBody>
      </p:sp>
      <p:sp>
        <p:nvSpPr>
          <p:cNvPr id="78" name="Rectangle 77"/>
          <p:cNvSpPr/>
          <p:nvPr/>
        </p:nvSpPr>
        <p:spPr>
          <a:xfrm>
            <a:off x="4624988" y="4216184"/>
            <a:ext cx="833719" cy="355824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>
                <a:solidFill>
                  <a:schemeClr val="tx1"/>
                </a:solidFill>
              </a:rPr>
              <a:t>Midrange</a:t>
            </a:r>
          </a:p>
          <a:p>
            <a:pPr algn="ctr"/>
            <a:r>
              <a:rPr lang="en-US" sz="1000" dirty="0" smtClean="0">
                <a:solidFill>
                  <a:schemeClr val="tx1"/>
                </a:solidFill>
              </a:rPr>
              <a:t>MQ</a:t>
            </a:r>
          </a:p>
        </p:txBody>
      </p:sp>
      <p:sp>
        <p:nvSpPr>
          <p:cNvPr id="80" name="Rectangle 79"/>
          <p:cNvSpPr/>
          <p:nvPr/>
        </p:nvSpPr>
        <p:spPr>
          <a:xfrm>
            <a:off x="4619050" y="5020154"/>
            <a:ext cx="839657" cy="353683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>
                <a:solidFill>
                  <a:schemeClr val="tx1"/>
                </a:solidFill>
              </a:rPr>
              <a:t>Mainframe</a:t>
            </a:r>
          </a:p>
          <a:p>
            <a:pPr algn="ctr"/>
            <a:r>
              <a:rPr lang="en-US" sz="1000" dirty="0" smtClean="0">
                <a:solidFill>
                  <a:schemeClr val="tx1"/>
                </a:solidFill>
              </a:rPr>
              <a:t>MQ</a:t>
            </a:r>
          </a:p>
        </p:txBody>
      </p:sp>
      <p:cxnSp>
        <p:nvCxnSpPr>
          <p:cNvPr id="31" name="Straight Arrow Connector 30"/>
          <p:cNvCxnSpPr>
            <a:stCxn id="40" idx="2"/>
            <a:endCxn id="76" idx="0"/>
          </p:cNvCxnSpPr>
          <p:nvPr/>
        </p:nvCxnSpPr>
        <p:spPr>
          <a:xfrm>
            <a:off x="1069317" y="4572005"/>
            <a:ext cx="0" cy="445921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Arrow Connector 40"/>
          <p:cNvCxnSpPr>
            <a:stCxn id="78" idx="2"/>
            <a:endCxn id="80" idx="0"/>
          </p:cNvCxnSpPr>
          <p:nvPr/>
        </p:nvCxnSpPr>
        <p:spPr>
          <a:xfrm flipH="1">
            <a:off x="5038879" y="4572008"/>
            <a:ext cx="2969" cy="448146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Rectangle 53"/>
          <p:cNvSpPr/>
          <p:nvPr/>
        </p:nvSpPr>
        <p:spPr>
          <a:xfrm>
            <a:off x="8057537" y="4812269"/>
            <a:ext cx="724395" cy="1273221"/>
          </a:xfrm>
          <a:prstGeom prst="rect">
            <a:avLst/>
          </a:prstGeom>
          <a:solidFill>
            <a:schemeClr val="accent5"/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1000" dirty="0" smtClean="0">
                <a:solidFill>
                  <a:schemeClr val="tx1"/>
                </a:solidFill>
              </a:rPr>
              <a:t>Batch Processes</a:t>
            </a:r>
          </a:p>
        </p:txBody>
      </p:sp>
      <p:sp>
        <p:nvSpPr>
          <p:cNvPr id="56" name="Rectangle 55"/>
          <p:cNvSpPr/>
          <p:nvPr/>
        </p:nvSpPr>
        <p:spPr>
          <a:xfrm>
            <a:off x="8134604" y="5596302"/>
            <a:ext cx="586878" cy="353683"/>
          </a:xfrm>
          <a:prstGeom prst="rect">
            <a:avLst/>
          </a:prstGeom>
          <a:solidFill>
            <a:srgbClr val="FFC000"/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>
                <a:solidFill>
                  <a:schemeClr val="tx1"/>
                </a:solidFill>
              </a:rPr>
              <a:t>Batch</a:t>
            </a:r>
          </a:p>
          <a:p>
            <a:pPr algn="ctr"/>
            <a:r>
              <a:rPr lang="en-US" sz="1000" dirty="0" smtClean="0">
                <a:solidFill>
                  <a:schemeClr val="tx1"/>
                </a:solidFill>
              </a:rPr>
              <a:t>Jobs</a:t>
            </a:r>
          </a:p>
        </p:txBody>
      </p:sp>
      <p:cxnSp>
        <p:nvCxnSpPr>
          <p:cNvPr id="7" name="Straight Arrow Connector 6"/>
          <p:cNvCxnSpPr>
            <a:stCxn id="56" idx="1"/>
            <a:endCxn id="98" idx="4"/>
          </p:cNvCxnSpPr>
          <p:nvPr/>
        </p:nvCxnSpPr>
        <p:spPr>
          <a:xfrm flipH="1" flipV="1">
            <a:off x="7719822" y="5771359"/>
            <a:ext cx="414782" cy="1785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Straight Connector 57"/>
          <p:cNvCxnSpPr/>
          <p:nvPr/>
        </p:nvCxnSpPr>
        <p:spPr>
          <a:xfrm>
            <a:off x="4183358" y="1739173"/>
            <a:ext cx="0" cy="435378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576818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_ANTHEM_Internal_Design">
  <a:themeElements>
    <a:clrScheme name="Anthem NEW">
      <a:dk1>
        <a:srgbClr val="000000"/>
      </a:dk1>
      <a:lt1>
        <a:sysClr val="window" lastClr="FFFFFF"/>
      </a:lt1>
      <a:dk2>
        <a:srgbClr val="5E5E5E"/>
      </a:dk2>
      <a:lt2>
        <a:srgbClr val="FFFFFF"/>
      </a:lt2>
      <a:accent1>
        <a:srgbClr val="0C2577"/>
      </a:accent1>
      <a:accent2>
        <a:srgbClr val="3D719C"/>
      </a:accent2>
      <a:accent3>
        <a:srgbClr val="FEC246"/>
      </a:accent3>
      <a:accent4>
        <a:srgbClr val="98B460"/>
      </a:accent4>
      <a:accent5>
        <a:srgbClr val="D9D9D9"/>
      </a:accent5>
      <a:accent6>
        <a:srgbClr val="D90026"/>
      </a:accent6>
      <a:hlink>
        <a:srgbClr val="3D719C"/>
      </a:hlink>
      <a:folHlink>
        <a:srgbClr val="FEC246"/>
      </a:folHlink>
    </a:clrScheme>
    <a:fontScheme name="Custom 1">
      <a:majorFont>
        <a:latin typeface="Georgia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5"/>
        </a:solidFill>
        <a:ln>
          <a:noFill/>
        </a:ln>
      </a:spPr>
      <a:bodyPr rtlCol="0" anchor="ctr"/>
      <a:lstStyle>
        <a:defPPr algn="ctr">
          <a:defRPr sz="2000" dirty="0" err="1" smtClean="0">
            <a:solidFill>
              <a:schemeClr val="tx2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custClrLst>
    <a:custClr name="Accent 1">
      <a:srgbClr val="BA9D80"/>
    </a:custClr>
    <a:custClr name="Accent 2">
      <a:srgbClr val="5D9674"/>
    </a:custClr>
    <a:custClr name="Accent 3">
      <a:srgbClr val="F3833D"/>
    </a:custClr>
    <a:custClr name="Accent 4">
      <a:srgbClr val="815E90"/>
    </a:custClr>
    <a:custClr name="Accent 5">
      <a:srgbClr val="766B2B"/>
    </a:custClr>
    <a:custClr name="Accent 6">
      <a:srgbClr val="D3D0A1"/>
    </a:custClr>
    <a:custClr name="Accent 7">
      <a:srgbClr val="3C3C3C"/>
    </a:custClr>
    <a:custClr name="Anthem Blue">
      <a:srgbClr val="0063A8"/>
    </a:custClr>
  </a:custClrLst>
</a:theme>
</file>

<file path=ppt/theme/theme2.xml><?xml version="1.0" encoding="utf-8"?>
<a:theme xmlns:a="http://schemas.openxmlformats.org/drawingml/2006/main" name="6_WellPoint_Culture_Template">
  <a:themeElements>
    <a:clrScheme name="WellPoint Palette">
      <a:dk1>
        <a:srgbClr val="000000"/>
      </a:dk1>
      <a:lt1>
        <a:sysClr val="window" lastClr="FFFFFF"/>
      </a:lt1>
      <a:dk2>
        <a:srgbClr val="5E5E5E"/>
      </a:dk2>
      <a:lt2>
        <a:srgbClr val="FFFFFF"/>
      </a:lt2>
      <a:accent1>
        <a:srgbClr val="0C2577"/>
      </a:accent1>
      <a:accent2>
        <a:srgbClr val="3D719C"/>
      </a:accent2>
      <a:accent3>
        <a:srgbClr val="FEC246"/>
      </a:accent3>
      <a:accent4>
        <a:srgbClr val="98B460"/>
      </a:accent4>
      <a:accent5>
        <a:srgbClr val="D9D9D9"/>
      </a:accent5>
      <a:accent6>
        <a:srgbClr val="D90026"/>
      </a:accent6>
      <a:hlink>
        <a:srgbClr val="3D719C"/>
      </a:hlink>
      <a:folHlink>
        <a:srgbClr val="FEC246"/>
      </a:folHlink>
    </a:clrScheme>
    <a:fontScheme name="WellPoint">
      <a:majorFont>
        <a:latin typeface="Georgia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5"/>
        </a:solidFill>
        <a:ln>
          <a:noFill/>
        </a:ln>
      </a:spPr>
      <a:bodyPr rtlCol="0" anchor="ctr"/>
      <a:lstStyle>
        <a:defPPr algn="ctr">
          <a:defRPr sz="2000" dirty="0" err="1" smtClean="0">
            <a:solidFill>
              <a:schemeClr val="tx2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WellPoint Palette">
      <a:dk1>
        <a:srgbClr val="000000"/>
      </a:dk1>
      <a:lt1>
        <a:sysClr val="window" lastClr="FFFFFF"/>
      </a:lt1>
      <a:dk2>
        <a:srgbClr val="5E5E5E"/>
      </a:dk2>
      <a:lt2>
        <a:srgbClr val="FFFFFF"/>
      </a:lt2>
      <a:accent1>
        <a:srgbClr val="0C2577"/>
      </a:accent1>
      <a:accent2>
        <a:srgbClr val="3D719C"/>
      </a:accent2>
      <a:accent3>
        <a:srgbClr val="FEC246"/>
      </a:accent3>
      <a:accent4>
        <a:srgbClr val="98B460"/>
      </a:accent4>
      <a:accent5>
        <a:srgbClr val="D9D9D9"/>
      </a:accent5>
      <a:accent6>
        <a:srgbClr val="D90026"/>
      </a:accent6>
      <a:hlink>
        <a:srgbClr val="3D719C"/>
      </a:hlink>
      <a:folHlink>
        <a:srgbClr val="FEC246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WellPoint Palette">
      <a:dk1>
        <a:srgbClr val="000000"/>
      </a:dk1>
      <a:lt1>
        <a:sysClr val="window" lastClr="FFFFFF"/>
      </a:lt1>
      <a:dk2>
        <a:srgbClr val="5E5E5E"/>
      </a:dk2>
      <a:lt2>
        <a:srgbClr val="FFFFFF"/>
      </a:lt2>
      <a:accent1>
        <a:srgbClr val="0C2577"/>
      </a:accent1>
      <a:accent2>
        <a:srgbClr val="3D719C"/>
      </a:accent2>
      <a:accent3>
        <a:srgbClr val="FEC246"/>
      </a:accent3>
      <a:accent4>
        <a:srgbClr val="98B460"/>
      </a:accent4>
      <a:accent5>
        <a:srgbClr val="D9D9D9"/>
      </a:accent5>
      <a:accent6>
        <a:srgbClr val="D90026"/>
      </a:accent6>
      <a:hlink>
        <a:srgbClr val="3D719C"/>
      </a:hlink>
      <a:folHlink>
        <a:srgbClr val="FEC246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5985</TotalTime>
  <Words>2174</Words>
  <Application>Microsoft Office PowerPoint</Application>
  <PresentationFormat>On-screen Show (4:3)</PresentationFormat>
  <Paragraphs>559</Paragraphs>
  <Slides>22</Slides>
  <Notes>16</Notes>
  <HiddenSlides>0</HiddenSlides>
  <MMClips>0</MMClips>
  <ScaleCrop>false</ScaleCrop>
  <HeadingPairs>
    <vt:vector size="6" baseType="variant"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2</vt:i4>
      </vt:variant>
    </vt:vector>
  </HeadingPairs>
  <TitlesOfParts>
    <vt:vector size="25" baseType="lpstr">
      <vt:lpstr>2_ANTHEM_Internal_Design</vt:lpstr>
      <vt:lpstr>6_WellPoint_Culture_Template</vt:lpstr>
      <vt:lpstr>think-cell Slide</vt:lpstr>
      <vt:lpstr> Accum ODS Technology Strategy and Roadmap - Draft </vt:lpstr>
      <vt:lpstr>Topics</vt:lpstr>
      <vt:lpstr>Accum ODS: Guiding Principles</vt:lpstr>
      <vt:lpstr>Challenges and Impacts</vt:lpstr>
      <vt:lpstr>Strategy and Roadmap</vt:lpstr>
      <vt:lpstr>Improvement #1a: Add Logging/Analytics to ODS Integration Layer</vt:lpstr>
      <vt:lpstr>Improvement#1a: Add Logging/Analytics to Integration Layer</vt:lpstr>
      <vt:lpstr>Improvement#1a: Add Logging/Analytics to Integration Layer cont.</vt:lpstr>
      <vt:lpstr>Improvement #1b: Add Logging/Analytics to ODS Integration Layer</vt:lpstr>
      <vt:lpstr>Challenge #1b: Add Logging/Analytics to the ODS Backend</vt:lpstr>
      <vt:lpstr>Improvement #2: Eliminate Duplicate Entries in Accum ODS from ESI</vt:lpstr>
      <vt:lpstr>Improvement #2: Implement Controls to Eliminate Dups</vt:lpstr>
      <vt:lpstr>Improvement #2: Eliminate Duplicate Entries in Accum ODS from ESI</vt:lpstr>
      <vt:lpstr>Improvement #3: Simplify the Accum ODS Integration Layer</vt:lpstr>
      <vt:lpstr>Improvement #3: Simplify the Accum ODS Integration Layer</vt:lpstr>
      <vt:lpstr>Improvement #5: Eliminate Transactional Dependency on IMS Membership DB’s</vt:lpstr>
      <vt:lpstr>Improvement #6: Staggered Upgrades of CA Mainframe</vt:lpstr>
      <vt:lpstr>Microservices</vt:lpstr>
      <vt:lpstr>Microservices</vt:lpstr>
      <vt:lpstr>Improvement #4: Eliminate shared components between ODS and WGS</vt:lpstr>
      <vt:lpstr>Improvement : Implement Accum ODS as a Microservice</vt:lpstr>
      <vt:lpstr>Roadmap Summary</vt:lpstr>
    </vt:vector>
  </TitlesOfParts>
  <Company>WellPoint INC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Fran Kandrac</dc:creator>
  <cp:lastModifiedBy>Kevin Murphy</cp:lastModifiedBy>
  <cp:revision>465</cp:revision>
  <cp:lastPrinted>2015-05-13T20:48:29Z</cp:lastPrinted>
  <dcterms:created xsi:type="dcterms:W3CDTF">2013-04-16T15:43:32Z</dcterms:created>
  <dcterms:modified xsi:type="dcterms:W3CDTF">2015-05-22T20:36:52Z</dcterms:modified>
</cp:coreProperties>
</file>